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1947" r:id="rId2"/>
    <p:sldId id="1955" r:id="rId3"/>
    <p:sldId id="1952" r:id="rId4"/>
    <p:sldId id="1949" r:id="rId5"/>
    <p:sldId id="1950" r:id="rId6"/>
    <p:sldId id="1957" r:id="rId7"/>
    <p:sldId id="1958" r:id="rId8"/>
    <p:sldId id="1951" r:id="rId9"/>
    <p:sldId id="1959" r:id="rId10"/>
    <p:sldId id="1961" r:id="rId11"/>
    <p:sldId id="1953" r:id="rId12"/>
    <p:sldId id="1956" r:id="rId13"/>
  </p:sldIdLst>
  <p:sldSz cx="9144000" cy="6858000" type="screen4x3"/>
  <p:notesSz cx="6858000" cy="9661525"/>
  <p:custShowLst>
    <p:custShow name="Mustermann1" id="0">
      <p:sldLst/>
    </p:custShow>
  </p:custShowLst>
  <p:custDataLst>
    <p:tags r:id="rId16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77E"/>
    <a:srgbClr val="FF3300"/>
    <a:srgbClr val="800000"/>
    <a:srgbClr val="990000"/>
    <a:srgbClr val="CC0000"/>
    <a:srgbClr val="FFCC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59" autoAdjust="0"/>
    <p:restoredTop sz="94646" autoAdjust="0"/>
  </p:normalViewPr>
  <p:slideViewPr>
    <p:cSldViewPr snapToGrid="0" showGuides="1">
      <p:cViewPr varScale="1">
        <p:scale>
          <a:sx n="113" d="100"/>
          <a:sy n="113" d="100"/>
        </p:scale>
        <p:origin x="1541" y="86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-312" y="-112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/>
      <dgm:spPr/>
      <dgm:t>
        <a:bodyPr/>
        <a:lstStyle/>
        <a:p>
          <a:endParaRPr lang="de-DE"/>
        </a:p>
      </dgm:t>
    </dgm:pt>
    <dgm:pt modelId="{C0AF1D52-1CBA-4261-8857-2FE1CDE40C0E}">
      <dgm:prSet/>
      <dgm:spPr/>
      <dgm:t>
        <a:bodyPr/>
        <a:lstStyle/>
        <a:p>
          <a:r>
            <a:rPr lang="de-DE" dirty="0"/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/>
      <dgm:spPr/>
      <dgm:t>
        <a:bodyPr/>
        <a:lstStyle/>
        <a:p>
          <a:r>
            <a:rPr lang="de-DE"/>
            <a:t>Zwischenstand Web-Scraping</a:t>
          </a: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/>
      <dgm:spPr/>
      <dgm:t>
        <a:bodyPr/>
        <a:lstStyle/>
        <a:p>
          <a:r>
            <a:rPr lang="de-DE"/>
            <a:t>Benchmarking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/>
      <dgm:spPr/>
      <dgm:t>
        <a:bodyPr/>
        <a:lstStyle/>
        <a:p>
          <a:r>
            <a:rPr lang="de-DE"/>
            <a:t>Next Steps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4">
        <dgm:presLayoutVars>
          <dgm:chMax val="1"/>
          <dgm:bulletEnabled val="1"/>
        </dgm:presLayoutVars>
      </dgm:prSet>
      <dgm:spPr/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4">
        <dgm:presLayoutVars>
          <dgm:chMax val="1"/>
          <dgm:bulletEnabled val="1"/>
        </dgm:presLayoutVars>
      </dgm:prSet>
      <dgm:spPr/>
    </dgm:pt>
    <dgm:pt modelId="{E54D9F91-E2A7-4A04-9D96-C91B504B83C3}" type="pres">
      <dgm:prSet presAssocID="{0E9BB6C0-A5E1-4A13-8553-6ADD424A818B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2" presStyleCnt="4">
        <dgm:presLayoutVars>
          <dgm:chMax val="1"/>
          <dgm:bulletEnabled val="1"/>
        </dgm:presLayoutVars>
      </dgm:prSet>
      <dgm:spPr/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3" presStyleCnt="4">
        <dgm:presLayoutVars>
          <dgm:chMax val="1"/>
          <dgm:bulletEnabled val="1"/>
        </dgm:presLayoutVars>
      </dgm:prSet>
      <dgm:spPr/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3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2" destOrd="0" parTransId="{DA7A3FDC-64BB-4C7F-8412-100C83FF2AE6}" sibTransId="{15A03D51-020B-460E-A388-564AA11F07DC}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00DD597C-B5A2-4B60-8D16-FDCB35CE3C5B}" type="presParOf" srcId="{7FCE9753-5206-4184-BE9F-0983E11CDEF6}" destId="{17680008-BAD6-40AA-AF07-9643C565B265}" srcOrd="4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5" destOrd="0" presId="urn:microsoft.com/office/officeart/2005/8/layout/vList5"/>
    <dgm:cxn modelId="{C30BAB44-2437-43A9-AF70-EF4BA154BB63}" type="presParOf" srcId="{7FCE9753-5206-4184-BE9F-0983E11CDEF6}" destId="{F873983D-9A8A-471F-9EDE-D6EC5D7A3863}" srcOrd="6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E629B0C-2751-4D99-9525-1D5326645973}" type="doc">
      <dgm:prSet loTypeId="urn:microsoft.com/office/officeart/2005/8/layout/venn1" loCatId="relationship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1AF0AF05-1102-4C13-B97B-540306C3400C}">
      <dgm:prSet/>
      <dgm:spPr/>
      <dgm:t>
        <a:bodyPr/>
        <a:lstStyle/>
        <a:p>
          <a:r>
            <a:rPr lang="de-DE"/>
            <a:t>News und Transfergerüchte aus aller Welt</a:t>
          </a:r>
        </a:p>
      </dgm:t>
    </dgm:pt>
    <dgm:pt modelId="{CCC71DBA-A0A0-4D57-9038-192D2550336D}" type="parTrans" cxnId="{93B02625-929C-4FFE-8CC9-2C1127B8D89C}">
      <dgm:prSet/>
      <dgm:spPr/>
      <dgm:t>
        <a:bodyPr/>
        <a:lstStyle/>
        <a:p>
          <a:endParaRPr lang="de-DE"/>
        </a:p>
      </dgm:t>
    </dgm:pt>
    <dgm:pt modelId="{595BD6CA-2396-4015-80C5-F48B718E3726}" type="sibTrans" cxnId="{93B02625-929C-4FFE-8CC9-2C1127B8D89C}">
      <dgm:prSet/>
      <dgm:spPr/>
      <dgm:t>
        <a:bodyPr/>
        <a:lstStyle/>
        <a:p>
          <a:endParaRPr lang="de-DE"/>
        </a:p>
      </dgm:t>
    </dgm:pt>
    <dgm:pt modelId="{544C27C2-1223-42BB-A645-2EAD98B9FAD3}">
      <dgm:prSet/>
      <dgm:spPr/>
      <dgm:t>
        <a:bodyPr/>
        <a:lstStyle/>
        <a:p>
          <a:r>
            <a:rPr lang="de-DE"/>
            <a:t>Statistiken zu Spielern, Mannschaften und Ligen</a:t>
          </a:r>
        </a:p>
      </dgm:t>
    </dgm:pt>
    <dgm:pt modelId="{3E9B50B5-8F81-474C-8BE5-E014578E67FA}" type="parTrans" cxnId="{EDC18CB8-252E-4225-BE4F-1CB6814C03E2}">
      <dgm:prSet/>
      <dgm:spPr/>
      <dgm:t>
        <a:bodyPr/>
        <a:lstStyle/>
        <a:p>
          <a:endParaRPr lang="de-DE"/>
        </a:p>
      </dgm:t>
    </dgm:pt>
    <dgm:pt modelId="{A8E3B217-36D5-4A01-80CA-F4F41DEC0F1A}" type="sibTrans" cxnId="{EDC18CB8-252E-4225-BE4F-1CB6814C03E2}">
      <dgm:prSet/>
      <dgm:spPr/>
      <dgm:t>
        <a:bodyPr/>
        <a:lstStyle/>
        <a:p>
          <a:endParaRPr lang="de-DE"/>
        </a:p>
      </dgm:t>
    </dgm:pt>
    <dgm:pt modelId="{79D91F3A-AB0E-47C9-B394-ECDE90C81465}">
      <dgm:prSet/>
      <dgm:spPr/>
      <dgm:t>
        <a:bodyPr/>
        <a:lstStyle/>
        <a:p>
          <a:r>
            <a:rPr lang="de-DE"/>
            <a:t>Spieler- und Mannschaftsprofile</a:t>
          </a:r>
        </a:p>
      </dgm:t>
    </dgm:pt>
    <dgm:pt modelId="{150749D4-C21E-4379-BCC3-53D658C9463C}" type="parTrans" cxnId="{1977814F-85C1-4A1F-A9D6-F24CB299265C}">
      <dgm:prSet/>
      <dgm:spPr/>
      <dgm:t>
        <a:bodyPr/>
        <a:lstStyle/>
        <a:p>
          <a:endParaRPr lang="de-DE"/>
        </a:p>
      </dgm:t>
    </dgm:pt>
    <dgm:pt modelId="{F6981BAB-4CC9-4431-A178-1F2910B9946C}" type="sibTrans" cxnId="{1977814F-85C1-4A1F-A9D6-F24CB299265C}">
      <dgm:prSet/>
      <dgm:spPr/>
      <dgm:t>
        <a:bodyPr/>
        <a:lstStyle/>
        <a:p>
          <a:endParaRPr lang="de-DE"/>
        </a:p>
      </dgm:t>
    </dgm:pt>
    <dgm:pt modelId="{06FE15D3-B23F-4765-8929-3AE868F80EB6}">
      <dgm:prSet/>
      <dgm:spPr/>
      <dgm:t>
        <a:bodyPr/>
        <a:lstStyle/>
        <a:p>
          <a:r>
            <a:rPr lang="de-DE"/>
            <a:t>Transfermarkt-Werte für Spieler und Mannschaften</a:t>
          </a:r>
        </a:p>
      </dgm:t>
    </dgm:pt>
    <dgm:pt modelId="{451B9714-4C81-4620-80B9-124656082E5D}" type="parTrans" cxnId="{662FD79A-E02D-49D4-9EBA-DC0A347EDB16}">
      <dgm:prSet/>
      <dgm:spPr/>
      <dgm:t>
        <a:bodyPr/>
        <a:lstStyle/>
        <a:p>
          <a:endParaRPr lang="de-DE"/>
        </a:p>
      </dgm:t>
    </dgm:pt>
    <dgm:pt modelId="{60251770-92B4-41D4-814D-0F2C46E2C023}" type="sibTrans" cxnId="{662FD79A-E02D-49D4-9EBA-DC0A347EDB16}">
      <dgm:prSet/>
      <dgm:spPr/>
      <dgm:t>
        <a:bodyPr/>
        <a:lstStyle/>
        <a:p>
          <a:endParaRPr lang="de-DE"/>
        </a:p>
      </dgm:t>
    </dgm:pt>
    <dgm:pt modelId="{891AFDF7-45E6-40C5-B687-87CA9DF124B2}">
      <dgm:prSet/>
      <dgm:spPr/>
      <dgm:t>
        <a:bodyPr/>
        <a:lstStyle/>
        <a:p>
          <a:r>
            <a:rPr lang="de-DE" dirty="0"/>
            <a:t>Community von Fußballfans, die sich über Transfers, Statistiken und andere Themen austauschen können</a:t>
          </a:r>
        </a:p>
      </dgm:t>
    </dgm:pt>
    <dgm:pt modelId="{B67AFAA1-3D0E-4A84-9013-55AD5B437262}" type="parTrans" cxnId="{C1D6370E-DEBA-45E3-942E-46F4024CB93B}">
      <dgm:prSet/>
      <dgm:spPr/>
      <dgm:t>
        <a:bodyPr/>
        <a:lstStyle/>
        <a:p>
          <a:endParaRPr lang="de-DE"/>
        </a:p>
      </dgm:t>
    </dgm:pt>
    <dgm:pt modelId="{025A0AB9-AD79-4251-AAD4-7EBB3063D6A3}" type="sibTrans" cxnId="{C1D6370E-DEBA-45E3-942E-46F4024CB93B}">
      <dgm:prSet/>
      <dgm:spPr/>
      <dgm:t>
        <a:bodyPr/>
        <a:lstStyle/>
        <a:p>
          <a:endParaRPr lang="de-DE"/>
        </a:p>
      </dgm:t>
    </dgm:pt>
    <dgm:pt modelId="{D4967B78-F62A-4461-89CA-1CE92A5F7DFD}" type="pres">
      <dgm:prSet presAssocID="{DE629B0C-2751-4D99-9525-1D5326645973}" presName="compositeShape" presStyleCnt="0">
        <dgm:presLayoutVars>
          <dgm:chMax val="7"/>
          <dgm:dir/>
          <dgm:resizeHandles val="exact"/>
        </dgm:presLayoutVars>
      </dgm:prSet>
      <dgm:spPr/>
    </dgm:pt>
    <dgm:pt modelId="{63D53A3B-4D5B-47BB-B8E8-5B53B272AFD5}" type="pres">
      <dgm:prSet presAssocID="{1AF0AF05-1102-4C13-B97B-540306C3400C}" presName="circ1" presStyleLbl="vennNode1" presStyleIdx="0" presStyleCnt="5"/>
      <dgm:spPr/>
    </dgm:pt>
    <dgm:pt modelId="{4721F6CC-2D4D-4521-84B5-C4C8FA293CEB}" type="pres">
      <dgm:prSet presAssocID="{1AF0AF05-1102-4C13-B97B-540306C3400C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A8C09EF0-172F-42CF-A6C9-C0FFCC582545}" type="pres">
      <dgm:prSet presAssocID="{544C27C2-1223-42BB-A645-2EAD98B9FAD3}" presName="circ2" presStyleLbl="vennNode1" presStyleIdx="1" presStyleCnt="5"/>
      <dgm:spPr/>
    </dgm:pt>
    <dgm:pt modelId="{497D19D9-E8BE-46A0-8F84-808AF46585ED}" type="pres">
      <dgm:prSet presAssocID="{544C27C2-1223-42BB-A645-2EAD98B9FAD3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EF17E774-C656-4AC4-A38F-62D88E02B32D}" type="pres">
      <dgm:prSet presAssocID="{79D91F3A-AB0E-47C9-B394-ECDE90C81465}" presName="circ3" presStyleLbl="vennNode1" presStyleIdx="2" presStyleCnt="5"/>
      <dgm:spPr/>
    </dgm:pt>
    <dgm:pt modelId="{B3814468-3C2D-418C-9180-F3424EBA280F}" type="pres">
      <dgm:prSet presAssocID="{79D91F3A-AB0E-47C9-B394-ECDE90C81465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18D027AC-83EC-4A74-84C6-62DF738F1D44}" type="pres">
      <dgm:prSet presAssocID="{06FE15D3-B23F-4765-8929-3AE868F80EB6}" presName="circ4" presStyleLbl="vennNode1" presStyleIdx="3" presStyleCnt="5"/>
      <dgm:spPr/>
    </dgm:pt>
    <dgm:pt modelId="{EF770828-0B3A-4F54-8CAC-F67E8B9F2DF9}" type="pres">
      <dgm:prSet presAssocID="{06FE15D3-B23F-4765-8929-3AE868F80EB6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13E045FB-34D1-410B-B223-B8C458FCC7CA}" type="pres">
      <dgm:prSet presAssocID="{891AFDF7-45E6-40C5-B687-87CA9DF124B2}" presName="circ5" presStyleLbl="vennNode1" presStyleIdx="4" presStyleCnt="5"/>
      <dgm:spPr/>
    </dgm:pt>
    <dgm:pt modelId="{5E0845A9-FCF2-47B3-8B0C-C226CD5FB40B}" type="pres">
      <dgm:prSet presAssocID="{891AFDF7-45E6-40C5-B687-87CA9DF124B2}" presName="circ5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C1D6370E-DEBA-45E3-942E-46F4024CB93B}" srcId="{DE629B0C-2751-4D99-9525-1D5326645973}" destId="{891AFDF7-45E6-40C5-B687-87CA9DF124B2}" srcOrd="4" destOrd="0" parTransId="{B67AFAA1-3D0E-4A84-9013-55AD5B437262}" sibTransId="{025A0AB9-AD79-4251-AAD4-7EBB3063D6A3}"/>
    <dgm:cxn modelId="{9A969F1F-A55D-4A27-8ED2-9CE73F15C98B}" type="presOf" srcId="{1AF0AF05-1102-4C13-B97B-540306C3400C}" destId="{4721F6CC-2D4D-4521-84B5-C4C8FA293CEB}" srcOrd="0" destOrd="0" presId="urn:microsoft.com/office/officeart/2005/8/layout/venn1"/>
    <dgm:cxn modelId="{93B02625-929C-4FFE-8CC9-2C1127B8D89C}" srcId="{DE629B0C-2751-4D99-9525-1D5326645973}" destId="{1AF0AF05-1102-4C13-B97B-540306C3400C}" srcOrd="0" destOrd="0" parTransId="{CCC71DBA-A0A0-4D57-9038-192D2550336D}" sibTransId="{595BD6CA-2396-4015-80C5-F48B718E3726}"/>
    <dgm:cxn modelId="{E8D50A46-29E5-4A11-B497-9B07788F3FAC}" type="presOf" srcId="{79D91F3A-AB0E-47C9-B394-ECDE90C81465}" destId="{B3814468-3C2D-418C-9180-F3424EBA280F}" srcOrd="0" destOrd="0" presId="urn:microsoft.com/office/officeart/2005/8/layout/venn1"/>
    <dgm:cxn modelId="{1977814F-85C1-4A1F-A9D6-F24CB299265C}" srcId="{DE629B0C-2751-4D99-9525-1D5326645973}" destId="{79D91F3A-AB0E-47C9-B394-ECDE90C81465}" srcOrd="2" destOrd="0" parTransId="{150749D4-C21E-4379-BCC3-53D658C9463C}" sibTransId="{F6981BAB-4CC9-4431-A178-1F2910B9946C}"/>
    <dgm:cxn modelId="{662FD79A-E02D-49D4-9EBA-DC0A347EDB16}" srcId="{DE629B0C-2751-4D99-9525-1D5326645973}" destId="{06FE15D3-B23F-4765-8929-3AE868F80EB6}" srcOrd="3" destOrd="0" parTransId="{451B9714-4C81-4620-80B9-124656082E5D}" sibTransId="{60251770-92B4-41D4-814D-0F2C46E2C023}"/>
    <dgm:cxn modelId="{EDC18CB8-252E-4225-BE4F-1CB6814C03E2}" srcId="{DE629B0C-2751-4D99-9525-1D5326645973}" destId="{544C27C2-1223-42BB-A645-2EAD98B9FAD3}" srcOrd="1" destOrd="0" parTransId="{3E9B50B5-8F81-474C-8BE5-E014578E67FA}" sibTransId="{A8E3B217-36D5-4A01-80CA-F4F41DEC0F1A}"/>
    <dgm:cxn modelId="{128FD2D6-8973-41B0-BB17-B305FCB9D433}" type="presOf" srcId="{891AFDF7-45E6-40C5-B687-87CA9DF124B2}" destId="{5E0845A9-FCF2-47B3-8B0C-C226CD5FB40B}" srcOrd="0" destOrd="0" presId="urn:microsoft.com/office/officeart/2005/8/layout/venn1"/>
    <dgm:cxn modelId="{006797D9-D2A7-414A-8BEF-4565C65C74BD}" type="presOf" srcId="{DE629B0C-2751-4D99-9525-1D5326645973}" destId="{D4967B78-F62A-4461-89CA-1CE92A5F7DFD}" srcOrd="0" destOrd="0" presId="urn:microsoft.com/office/officeart/2005/8/layout/venn1"/>
    <dgm:cxn modelId="{BED6F8DE-6933-4EFF-88AE-D590A29EF55F}" type="presOf" srcId="{544C27C2-1223-42BB-A645-2EAD98B9FAD3}" destId="{497D19D9-E8BE-46A0-8F84-808AF46585ED}" srcOrd="0" destOrd="0" presId="urn:microsoft.com/office/officeart/2005/8/layout/venn1"/>
    <dgm:cxn modelId="{FC5BBAE9-4EFD-429F-9D9C-7F7EB7620F2F}" type="presOf" srcId="{06FE15D3-B23F-4765-8929-3AE868F80EB6}" destId="{EF770828-0B3A-4F54-8CAC-F67E8B9F2DF9}" srcOrd="0" destOrd="0" presId="urn:microsoft.com/office/officeart/2005/8/layout/venn1"/>
    <dgm:cxn modelId="{B2016573-8827-490F-A8E8-2B7F49DE91EF}" type="presParOf" srcId="{D4967B78-F62A-4461-89CA-1CE92A5F7DFD}" destId="{63D53A3B-4D5B-47BB-B8E8-5B53B272AFD5}" srcOrd="0" destOrd="0" presId="urn:microsoft.com/office/officeart/2005/8/layout/venn1"/>
    <dgm:cxn modelId="{A718D4D3-CC63-49A4-BAF7-8CE3132232E4}" type="presParOf" srcId="{D4967B78-F62A-4461-89CA-1CE92A5F7DFD}" destId="{4721F6CC-2D4D-4521-84B5-C4C8FA293CEB}" srcOrd="1" destOrd="0" presId="urn:microsoft.com/office/officeart/2005/8/layout/venn1"/>
    <dgm:cxn modelId="{553ABE8F-70A1-41CD-BA5F-1A5129935466}" type="presParOf" srcId="{D4967B78-F62A-4461-89CA-1CE92A5F7DFD}" destId="{A8C09EF0-172F-42CF-A6C9-C0FFCC582545}" srcOrd="2" destOrd="0" presId="urn:microsoft.com/office/officeart/2005/8/layout/venn1"/>
    <dgm:cxn modelId="{4C275CB4-D0A8-4868-9A0E-E83042EB78D9}" type="presParOf" srcId="{D4967B78-F62A-4461-89CA-1CE92A5F7DFD}" destId="{497D19D9-E8BE-46A0-8F84-808AF46585ED}" srcOrd="3" destOrd="0" presId="urn:microsoft.com/office/officeart/2005/8/layout/venn1"/>
    <dgm:cxn modelId="{58B7A516-C7F1-46C9-B10D-373B9AD58355}" type="presParOf" srcId="{D4967B78-F62A-4461-89CA-1CE92A5F7DFD}" destId="{EF17E774-C656-4AC4-A38F-62D88E02B32D}" srcOrd="4" destOrd="0" presId="urn:microsoft.com/office/officeart/2005/8/layout/venn1"/>
    <dgm:cxn modelId="{FF2521F8-ADD6-408E-AD33-49D18F7E71F9}" type="presParOf" srcId="{D4967B78-F62A-4461-89CA-1CE92A5F7DFD}" destId="{B3814468-3C2D-418C-9180-F3424EBA280F}" srcOrd="5" destOrd="0" presId="urn:microsoft.com/office/officeart/2005/8/layout/venn1"/>
    <dgm:cxn modelId="{7F5227C1-D1E6-4F1E-9321-F2B68AA46063}" type="presParOf" srcId="{D4967B78-F62A-4461-89CA-1CE92A5F7DFD}" destId="{18D027AC-83EC-4A74-84C6-62DF738F1D44}" srcOrd="6" destOrd="0" presId="urn:microsoft.com/office/officeart/2005/8/layout/venn1"/>
    <dgm:cxn modelId="{96DC3154-806A-49CD-AA07-CF3068B21E91}" type="presParOf" srcId="{D4967B78-F62A-4461-89CA-1CE92A5F7DFD}" destId="{EF770828-0B3A-4F54-8CAC-F67E8B9F2DF9}" srcOrd="7" destOrd="0" presId="urn:microsoft.com/office/officeart/2005/8/layout/venn1"/>
    <dgm:cxn modelId="{27989D7F-2AF8-40C8-A23E-2E0015A6B921}" type="presParOf" srcId="{D4967B78-F62A-4461-89CA-1CE92A5F7DFD}" destId="{13E045FB-34D1-410B-B223-B8C458FCC7CA}" srcOrd="8" destOrd="0" presId="urn:microsoft.com/office/officeart/2005/8/layout/venn1"/>
    <dgm:cxn modelId="{CA430333-FB28-468A-90A3-C5D8955C1D71}" type="presParOf" srcId="{D4967B78-F62A-4461-89CA-1CE92A5F7DFD}" destId="{5E0845A9-FCF2-47B3-8B0C-C226CD5FB40B}" srcOrd="9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 dirty="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Spieldatum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/>
            <a:t>Spieltag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/>
            <a:t>Heim- und Auswärtsteam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/>
            <a:t>Platzierungen beider Teams vor dem Spiel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Tipprundenten-</a:t>
          </a:r>
          <a:r>
            <a:rPr lang="de-DE" sz="1000" dirty="0" err="1"/>
            <a:t>denzen</a:t>
          </a:r>
          <a:endParaRPr lang="de-DE" sz="1000" dirty="0"/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/>
            <a:t>Geschossene Tore beider Teams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26018C0D-57D8-4ED6-A88E-C484A4AE7FDB}">
      <dgm:prSet custT="1"/>
      <dgm:spPr/>
      <dgm:t>
        <a:bodyPr/>
        <a:lstStyle/>
        <a:p>
          <a:r>
            <a:rPr lang="de-DE" sz="1000" dirty="0"/>
            <a:t>Schiedsrichter</a:t>
          </a:r>
        </a:p>
      </dgm:t>
    </dgm:pt>
    <dgm:pt modelId="{FEF15825-2017-48CE-B3E0-6646B9E3F8E6}" type="parTrans" cxnId="{61711B1B-9C74-4FFC-8EC2-E4E4CD1412EF}">
      <dgm:prSet/>
      <dgm:spPr/>
      <dgm:t>
        <a:bodyPr/>
        <a:lstStyle/>
        <a:p>
          <a:endParaRPr lang="de-DE" sz="1000"/>
        </a:p>
      </dgm:t>
    </dgm:pt>
    <dgm:pt modelId="{FFB39916-0886-468D-ACCE-099D53516939}" type="sibTrans" cxnId="{61711B1B-9C74-4FFC-8EC2-E4E4CD1412E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8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8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8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8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8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8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8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8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8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8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8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8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8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8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8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8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8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8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8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8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8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C8AB344-DDA2-4C65-9FAE-8474291F8300}" type="pres">
      <dgm:prSet presAssocID="{FEF15825-2017-48CE-B3E0-6646B9E3F8E6}" presName="Name37" presStyleLbl="parChTrans1D2" presStyleIdx="7" presStyleCnt="8" custSzX="6005334" custSzY="306613"/>
      <dgm:spPr/>
    </dgm:pt>
    <dgm:pt modelId="{B15583D3-9B6E-4A52-8503-28A41B2EB79E}" type="pres">
      <dgm:prSet presAssocID="{26018C0D-57D8-4ED6-A88E-C484A4AE7FDB}" presName="hierRoot2" presStyleCnt="0">
        <dgm:presLayoutVars>
          <dgm:hierBranch val="init"/>
        </dgm:presLayoutVars>
      </dgm:prSet>
      <dgm:spPr/>
    </dgm:pt>
    <dgm:pt modelId="{FE601759-9972-435F-92EE-E450BF08EC6F}" type="pres">
      <dgm:prSet presAssocID="{26018C0D-57D8-4ED6-A88E-C484A4AE7FDB}" presName="rootComposite" presStyleCnt="0"/>
      <dgm:spPr/>
    </dgm:pt>
    <dgm:pt modelId="{3D4EB2F9-3B09-45FA-A6CC-B4ABB57F75C1}" type="pres">
      <dgm:prSet presAssocID="{26018C0D-57D8-4ED6-A88E-C484A4AE7FDB}" presName="rootText" presStyleLbl="node2" presStyleIdx="7" presStyleCnt="8" custScaleX="224472" custScaleY="263868">
        <dgm:presLayoutVars>
          <dgm:chPref val="3"/>
        </dgm:presLayoutVars>
      </dgm:prSet>
      <dgm:spPr/>
    </dgm:pt>
    <dgm:pt modelId="{3035AC2D-A387-4228-9E38-423DF014FF0A}" type="pres">
      <dgm:prSet presAssocID="{26018C0D-57D8-4ED6-A88E-C484A4AE7FDB}" presName="rootConnector" presStyleLbl="node2" presStyleIdx="7" presStyleCnt="8"/>
      <dgm:spPr/>
    </dgm:pt>
    <dgm:pt modelId="{E4548A40-41F8-4DC0-9F8F-122C27CA444F}" type="pres">
      <dgm:prSet presAssocID="{26018C0D-57D8-4ED6-A88E-C484A4AE7FDB}" presName="hierChild4" presStyleCnt="0"/>
      <dgm:spPr/>
    </dgm:pt>
    <dgm:pt modelId="{42CD9089-A891-4D21-96B3-C7EEB57C8CF7}" type="pres">
      <dgm:prSet presAssocID="{26018C0D-57D8-4ED6-A88E-C484A4AE7FDB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D8BE2E0C-D298-4EE3-A65E-F5C05E27826F}" type="presOf" srcId="{26018C0D-57D8-4ED6-A88E-C484A4AE7FDB}" destId="{3035AC2D-A387-4228-9E38-423DF014FF0A}" srcOrd="1" destOrd="0" presId="urn:microsoft.com/office/officeart/2005/8/layout/orgChart1"/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61711B1B-9C74-4FFC-8EC2-E4E4CD1412EF}" srcId="{3A6AA12D-C2E9-4BD8-BD2C-3FE7294AFEB9}" destId="{26018C0D-57D8-4ED6-A88E-C484A4AE7FDB}" srcOrd="7" destOrd="0" parTransId="{FEF15825-2017-48CE-B3E0-6646B9E3F8E6}" sibTransId="{FFB39916-0886-468D-ACCE-099D53516939}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19C50842-3C4E-4120-AA47-0CB579E31C4C}" type="presOf" srcId="{FEF15825-2017-48CE-B3E0-6646B9E3F8E6}" destId="{3C8AB344-DDA2-4C65-9FAE-8474291F8300}" srcOrd="0" destOrd="0" presId="urn:microsoft.com/office/officeart/2005/8/layout/orgChart1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2A74989D-8787-4D02-8BD3-B0333F6DA503}" type="presOf" srcId="{26018C0D-57D8-4ED6-A88E-C484A4AE7FDB}" destId="{3D4EB2F9-3B09-45FA-A6CC-B4ABB57F75C1}" srcOrd="0" destOrd="0" presId="urn:microsoft.com/office/officeart/2005/8/layout/orgChart1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5206FFB5-CF61-473E-8EDD-BA0DE8FD846E}" type="presParOf" srcId="{E404BA80-6E0F-4C3E-BC06-4E7117DCF3CE}" destId="{3C8AB344-DDA2-4C65-9FAE-8474291F8300}" srcOrd="14" destOrd="0" presId="urn:microsoft.com/office/officeart/2005/8/layout/orgChart1"/>
    <dgm:cxn modelId="{A01B69B6-EDB0-4E7F-B51A-A8F75C8C9826}" type="presParOf" srcId="{E404BA80-6E0F-4C3E-BC06-4E7117DCF3CE}" destId="{B15583D3-9B6E-4A52-8503-28A41B2EB79E}" srcOrd="15" destOrd="0" presId="urn:microsoft.com/office/officeart/2005/8/layout/orgChart1"/>
    <dgm:cxn modelId="{FF930C59-5D06-472C-BE64-6D84D55B1638}" type="presParOf" srcId="{B15583D3-9B6E-4A52-8503-28A41B2EB79E}" destId="{FE601759-9972-435F-92EE-E450BF08EC6F}" srcOrd="0" destOrd="0" presId="urn:microsoft.com/office/officeart/2005/8/layout/orgChart1"/>
    <dgm:cxn modelId="{57FEF5BE-F90E-4EBB-9252-3EE196DAA8AA}" type="presParOf" srcId="{FE601759-9972-435F-92EE-E450BF08EC6F}" destId="{3D4EB2F9-3B09-45FA-A6CC-B4ABB57F75C1}" srcOrd="0" destOrd="0" presId="urn:microsoft.com/office/officeart/2005/8/layout/orgChart1"/>
    <dgm:cxn modelId="{A7367F81-AD6B-4F44-9DBF-6511AD8C006C}" type="presParOf" srcId="{FE601759-9972-435F-92EE-E450BF08EC6F}" destId="{3035AC2D-A387-4228-9E38-423DF014FF0A}" srcOrd="1" destOrd="0" presId="urn:microsoft.com/office/officeart/2005/8/layout/orgChart1"/>
    <dgm:cxn modelId="{F7751A0D-9280-473E-BB18-142C4361AD25}" type="presParOf" srcId="{B15583D3-9B6E-4A52-8503-28A41B2EB79E}" destId="{E4548A40-41F8-4DC0-9F8F-122C27CA444F}" srcOrd="1" destOrd="0" presId="urn:microsoft.com/office/officeart/2005/8/layout/orgChart1"/>
    <dgm:cxn modelId="{4D5A2E5F-1BCD-4397-ABD1-D8AE053AEA7F}" type="presParOf" srcId="{B15583D3-9B6E-4A52-8503-28A41B2EB79E}" destId="{42CD9089-A891-4D21-96B3-C7EEB57C8CF7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Verei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Anzahl Kader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Durchschnitts-alter der Spieler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Anzahl Legionäre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Durchschnittlicher Marktwert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 dirty="0"/>
            <a:t>Gesamtmarkt- wert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7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7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7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7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7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7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7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7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7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Verei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 dirty="0"/>
            <a:t>Durchschnittsalter der Zugänge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Durchschnittsalter der Abgänge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Gesamtmarktwert der Zugänge in Mio.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Gesamtmarktwert der Abgänge in Mio.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Ausgaben durch Zugänge in Mio.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 dirty="0"/>
            <a:t>Einnahmen durch Abgänge in Mio.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 custLinFactNeighborY="-64180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7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7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7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7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7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7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7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7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7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5902AA6-96DF-4A3D-9275-8D48946301A5}" type="doc">
      <dgm:prSet loTypeId="urn:microsoft.com/office/officeart/2005/8/layout/hProcess9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09A374C0-62C4-4E0B-A904-58D59AF48F32}">
      <dgm:prSet/>
      <dgm:spPr/>
      <dgm:t>
        <a:bodyPr/>
        <a:lstStyle/>
        <a:p>
          <a:r>
            <a:rPr lang="de-DE" dirty="0"/>
            <a:t>Auslagern von Web-</a:t>
          </a:r>
          <a:r>
            <a:rPr lang="de-DE" dirty="0" err="1"/>
            <a:t>Scraping</a:t>
          </a:r>
          <a:r>
            <a:rPr lang="de-DE" dirty="0"/>
            <a:t>-Code in separate Python-Dateien</a:t>
          </a:r>
        </a:p>
      </dgm:t>
    </dgm:pt>
    <dgm:pt modelId="{A794A77B-C5A4-4759-BF16-D7547284FAD7}" type="parTrans" cxnId="{59DDB252-C2B1-4262-8132-132840F18953}">
      <dgm:prSet/>
      <dgm:spPr/>
      <dgm:t>
        <a:bodyPr/>
        <a:lstStyle/>
        <a:p>
          <a:endParaRPr lang="de-DE"/>
        </a:p>
      </dgm:t>
    </dgm:pt>
    <dgm:pt modelId="{91AA41A5-345C-4889-8411-441251CBEFD2}" type="sibTrans" cxnId="{59DDB252-C2B1-4262-8132-132840F18953}">
      <dgm:prSet/>
      <dgm:spPr/>
      <dgm:t>
        <a:bodyPr/>
        <a:lstStyle/>
        <a:p>
          <a:endParaRPr lang="de-DE"/>
        </a:p>
      </dgm:t>
    </dgm:pt>
    <dgm:pt modelId="{84636778-9234-41B5-A9D5-F21D349A5678}">
      <dgm:prSet/>
      <dgm:spPr/>
      <dgm:t>
        <a:bodyPr/>
        <a:lstStyle/>
        <a:p>
          <a:r>
            <a:rPr lang="de-DE" dirty="0"/>
            <a:t>Features berechnen, welche aktuelle Form der Teams beschreiben</a:t>
          </a:r>
        </a:p>
      </dgm:t>
    </dgm:pt>
    <dgm:pt modelId="{CD349D7B-0146-47C0-97F5-86C0E2222880}" type="parTrans" cxnId="{D42FC8D6-0AF1-40F3-8AFF-BB8A4C76A435}">
      <dgm:prSet/>
      <dgm:spPr/>
      <dgm:t>
        <a:bodyPr/>
        <a:lstStyle/>
        <a:p>
          <a:endParaRPr lang="de-DE"/>
        </a:p>
      </dgm:t>
    </dgm:pt>
    <dgm:pt modelId="{F327EB18-4ACB-4AE1-ACE6-3D6FD7D0F317}" type="sibTrans" cxnId="{D42FC8D6-0AF1-40F3-8AFF-BB8A4C76A435}">
      <dgm:prSet/>
      <dgm:spPr/>
      <dgm:t>
        <a:bodyPr/>
        <a:lstStyle/>
        <a:p>
          <a:endParaRPr lang="de-DE"/>
        </a:p>
      </dgm:t>
    </dgm:pt>
    <dgm:pt modelId="{209D9134-9B0A-46B8-A978-A46D3AB9A70B}">
      <dgm:prSet/>
      <dgm:spPr/>
      <dgm:t>
        <a:bodyPr/>
        <a:lstStyle/>
        <a:p>
          <a:r>
            <a:rPr lang="de-DE"/>
            <a:t>z. B. Siege, Unentschieden und Niederlagen in den letzten x Spielen</a:t>
          </a:r>
        </a:p>
      </dgm:t>
    </dgm:pt>
    <dgm:pt modelId="{CE1BE490-B66B-4A7E-B32E-0D7FD5E1C45F}" type="parTrans" cxnId="{DDD4F9D8-2A18-40D0-9DF1-0FEE20A2349D}">
      <dgm:prSet/>
      <dgm:spPr/>
      <dgm:t>
        <a:bodyPr/>
        <a:lstStyle/>
        <a:p>
          <a:endParaRPr lang="de-DE"/>
        </a:p>
      </dgm:t>
    </dgm:pt>
    <dgm:pt modelId="{067B6B4A-92FC-4FCC-BAF3-4FDAA345FFEB}" type="sibTrans" cxnId="{DDD4F9D8-2A18-40D0-9DF1-0FEE20A2349D}">
      <dgm:prSet/>
      <dgm:spPr/>
      <dgm:t>
        <a:bodyPr/>
        <a:lstStyle/>
        <a:p>
          <a:endParaRPr lang="de-DE"/>
        </a:p>
      </dgm:t>
    </dgm:pt>
    <dgm:pt modelId="{EF587930-82B3-41BE-A00D-F64F81FCCFF8}">
      <dgm:prSet/>
      <dgm:spPr/>
      <dgm:t>
        <a:bodyPr/>
        <a:lstStyle/>
        <a:p>
          <a:r>
            <a:rPr lang="de-DE"/>
            <a:t>Statistische Datenanalyse</a:t>
          </a:r>
        </a:p>
      </dgm:t>
    </dgm:pt>
    <dgm:pt modelId="{1526125A-2D27-45FE-93E5-1A31AA34B547}" type="parTrans" cxnId="{F27DA3F7-DF95-4C95-99D7-2293EB3204B8}">
      <dgm:prSet/>
      <dgm:spPr/>
      <dgm:t>
        <a:bodyPr/>
        <a:lstStyle/>
        <a:p>
          <a:endParaRPr lang="de-DE"/>
        </a:p>
      </dgm:t>
    </dgm:pt>
    <dgm:pt modelId="{4B2ABB52-9FEA-49BA-887A-7F45422BFC24}" type="sibTrans" cxnId="{F27DA3F7-DF95-4C95-99D7-2293EB3204B8}">
      <dgm:prSet/>
      <dgm:spPr/>
      <dgm:t>
        <a:bodyPr/>
        <a:lstStyle/>
        <a:p>
          <a:endParaRPr lang="de-DE"/>
        </a:p>
      </dgm:t>
    </dgm:pt>
    <dgm:pt modelId="{A431A3E8-81A4-402D-8550-B73C5ABB7530}">
      <dgm:prSet/>
      <dgm:spPr/>
      <dgm:t>
        <a:bodyPr/>
        <a:lstStyle/>
        <a:p>
          <a:r>
            <a:rPr lang="de-DE"/>
            <a:t>Feature Engineering und Modelling</a:t>
          </a:r>
        </a:p>
      </dgm:t>
    </dgm:pt>
    <dgm:pt modelId="{0F6F4F94-4E81-42E3-BBF5-74365704F1D2}" type="parTrans" cxnId="{E7C9C71C-248C-4720-9D23-F11DAE3252FC}">
      <dgm:prSet/>
      <dgm:spPr/>
      <dgm:t>
        <a:bodyPr/>
        <a:lstStyle/>
        <a:p>
          <a:endParaRPr lang="de-DE"/>
        </a:p>
      </dgm:t>
    </dgm:pt>
    <dgm:pt modelId="{871AE1BC-3E0F-4139-B438-5261D7C54CD2}" type="sibTrans" cxnId="{E7C9C71C-248C-4720-9D23-F11DAE3252FC}">
      <dgm:prSet/>
      <dgm:spPr/>
      <dgm:t>
        <a:bodyPr/>
        <a:lstStyle/>
        <a:p>
          <a:endParaRPr lang="de-DE"/>
        </a:p>
      </dgm:t>
    </dgm:pt>
    <dgm:pt modelId="{CAE99879-3F37-4933-8F2E-41550FF57BA5}">
      <dgm:prSet/>
      <dgm:spPr/>
      <dgm:t>
        <a:bodyPr/>
        <a:lstStyle/>
        <a:p>
          <a:r>
            <a:rPr lang="de-DE"/>
            <a:t>Modellevaluation und Benchmarking</a:t>
          </a:r>
        </a:p>
      </dgm:t>
    </dgm:pt>
    <dgm:pt modelId="{35ED31CB-9374-4252-91ED-F0A0656B2D5D}" type="parTrans" cxnId="{04D58992-ACA9-4CF9-9510-B57F43976584}">
      <dgm:prSet/>
      <dgm:spPr/>
      <dgm:t>
        <a:bodyPr/>
        <a:lstStyle/>
        <a:p>
          <a:endParaRPr lang="de-DE"/>
        </a:p>
      </dgm:t>
    </dgm:pt>
    <dgm:pt modelId="{3D2A2045-2C77-4067-88E9-920743C72B89}" type="sibTrans" cxnId="{04D58992-ACA9-4CF9-9510-B57F43976584}">
      <dgm:prSet/>
      <dgm:spPr/>
      <dgm:t>
        <a:bodyPr/>
        <a:lstStyle/>
        <a:p>
          <a:endParaRPr lang="de-DE"/>
        </a:p>
      </dgm:t>
    </dgm:pt>
    <dgm:pt modelId="{76DAE079-B32B-4283-B8E5-2EE75AD65A59}">
      <dgm:prSet/>
      <dgm:spPr/>
      <dgm:t>
        <a:bodyPr/>
        <a:lstStyle/>
        <a:p>
          <a:r>
            <a:rPr lang="de-DE" dirty="0"/>
            <a:t>Weitere Daten </a:t>
          </a:r>
          <a:r>
            <a:rPr lang="de-DE" dirty="0" err="1"/>
            <a:t>scrapen</a:t>
          </a:r>
          <a:r>
            <a:rPr lang="de-DE" dirty="0"/>
            <a:t>: z. B. Wetterdaten</a:t>
          </a:r>
        </a:p>
      </dgm:t>
    </dgm:pt>
    <dgm:pt modelId="{84D2D528-3AB7-45F7-9262-A3CAFFCAD497}" type="parTrans" cxnId="{DA925639-B7A1-4A2D-8A82-683E1A914727}">
      <dgm:prSet/>
      <dgm:spPr/>
      <dgm:t>
        <a:bodyPr/>
        <a:lstStyle/>
        <a:p>
          <a:endParaRPr lang="de-DE"/>
        </a:p>
      </dgm:t>
    </dgm:pt>
    <dgm:pt modelId="{BEAFAE59-DD53-4D6F-B610-3E54EE99762E}" type="sibTrans" cxnId="{DA925639-B7A1-4A2D-8A82-683E1A914727}">
      <dgm:prSet/>
      <dgm:spPr/>
      <dgm:t>
        <a:bodyPr/>
        <a:lstStyle/>
        <a:p>
          <a:endParaRPr lang="de-DE"/>
        </a:p>
      </dgm:t>
    </dgm:pt>
    <dgm:pt modelId="{D7B1A716-B5B0-407B-A520-0FE1D5607913}" type="pres">
      <dgm:prSet presAssocID="{05902AA6-96DF-4A3D-9275-8D48946301A5}" presName="CompostProcess" presStyleCnt="0">
        <dgm:presLayoutVars>
          <dgm:dir/>
          <dgm:resizeHandles val="exact"/>
        </dgm:presLayoutVars>
      </dgm:prSet>
      <dgm:spPr/>
    </dgm:pt>
    <dgm:pt modelId="{081C4271-97C9-4585-AD8B-C94394E078D9}" type="pres">
      <dgm:prSet presAssocID="{05902AA6-96DF-4A3D-9275-8D48946301A5}" presName="arrow" presStyleLbl="bgShp" presStyleIdx="0" presStyleCnt="1"/>
      <dgm:spPr/>
    </dgm:pt>
    <dgm:pt modelId="{401C4F64-BCC8-4722-B382-7F946A6EB47F}" type="pres">
      <dgm:prSet presAssocID="{05902AA6-96DF-4A3D-9275-8D48946301A5}" presName="linearProcess" presStyleCnt="0"/>
      <dgm:spPr/>
    </dgm:pt>
    <dgm:pt modelId="{37DA1BDE-8D5F-4819-BD8B-AD266C3FDCFC}" type="pres">
      <dgm:prSet presAssocID="{76DAE079-B32B-4283-B8E5-2EE75AD65A59}" presName="textNode" presStyleLbl="node1" presStyleIdx="0" presStyleCnt="6">
        <dgm:presLayoutVars>
          <dgm:bulletEnabled val="1"/>
        </dgm:presLayoutVars>
      </dgm:prSet>
      <dgm:spPr/>
    </dgm:pt>
    <dgm:pt modelId="{2C3FA606-A13D-477D-9320-9CBC8CA6FB3C}" type="pres">
      <dgm:prSet presAssocID="{BEAFAE59-DD53-4D6F-B610-3E54EE99762E}" presName="sibTrans" presStyleCnt="0"/>
      <dgm:spPr/>
    </dgm:pt>
    <dgm:pt modelId="{A807AEA5-AB65-4BF0-8E8B-E03980A323BA}" type="pres">
      <dgm:prSet presAssocID="{09A374C0-62C4-4E0B-A904-58D59AF48F32}" presName="textNode" presStyleLbl="node1" presStyleIdx="1" presStyleCnt="6">
        <dgm:presLayoutVars>
          <dgm:bulletEnabled val="1"/>
        </dgm:presLayoutVars>
      </dgm:prSet>
      <dgm:spPr/>
    </dgm:pt>
    <dgm:pt modelId="{9D28D710-BADF-4EAD-8656-CCB573ED810B}" type="pres">
      <dgm:prSet presAssocID="{91AA41A5-345C-4889-8411-441251CBEFD2}" presName="sibTrans" presStyleCnt="0"/>
      <dgm:spPr/>
    </dgm:pt>
    <dgm:pt modelId="{83AA8CCA-D335-4A93-AC1C-330B5DA904F3}" type="pres">
      <dgm:prSet presAssocID="{84636778-9234-41B5-A9D5-F21D349A5678}" presName="textNode" presStyleLbl="node1" presStyleIdx="2" presStyleCnt="6">
        <dgm:presLayoutVars>
          <dgm:bulletEnabled val="1"/>
        </dgm:presLayoutVars>
      </dgm:prSet>
      <dgm:spPr/>
    </dgm:pt>
    <dgm:pt modelId="{34F7EBCD-0FC3-4A25-903E-A0C5299C0037}" type="pres">
      <dgm:prSet presAssocID="{F327EB18-4ACB-4AE1-ACE6-3D6FD7D0F317}" presName="sibTrans" presStyleCnt="0"/>
      <dgm:spPr/>
    </dgm:pt>
    <dgm:pt modelId="{D18F99D5-99F8-4161-9EB2-CB4843E7331F}" type="pres">
      <dgm:prSet presAssocID="{EF587930-82B3-41BE-A00D-F64F81FCCFF8}" presName="textNode" presStyleLbl="node1" presStyleIdx="3" presStyleCnt="6">
        <dgm:presLayoutVars>
          <dgm:bulletEnabled val="1"/>
        </dgm:presLayoutVars>
      </dgm:prSet>
      <dgm:spPr/>
    </dgm:pt>
    <dgm:pt modelId="{7CD19C5C-27C4-4B0E-BDB5-6CE424201113}" type="pres">
      <dgm:prSet presAssocID="{4B2ABB52-9FEA-49BA-887A-7F45422BFC24}" presName="sibTrans" presStyleCnt="0"/>
      <dgm:spPr/>
    </dgm:pt>
    <dgm:pt modelId="{8709D373-8470-4F0A-B3DA-319DD3871C6E}" type="pres">
      <dgm:prSet presAssocID="{A431A3E8-81A4-402D-8550-B73C5ABB7530}" presName="textNode" presStyleLbl="node1" presStyleIdx="4" presStyleCnt="6">
        <dgm:presLayoutVars>
          <dgm:bulletEnabled val="1"/>
        </dgm:presLayoutVars>
      </dgm:prSet>
      <dgm:spPr/>
    </dgm:pt>
    <dgm:pt modelId="{C7217561-D396-4B81-879A-04ECBF494CE2}" type="pres">
      <dgm:prSet presAssocID="{871AE1BC-3E0F-4139-B438-5261D7C54CD2}" presName="sibTrans" presStyleCnt="0"/>
      <dgm:spPr/>
    </dgm:pt>
    <dgm:pt modelId="{1B95D6BE-54AC-486B-960D-5BBA9E945FAA}" type="pres">
      <dgm:prSet presAssocID="{CAE99879-3F37-4933-8F2E-41550FF57BA5}" presName="textNode" presStyleLbl="node1" presStyleIdx="5" presStyleCnt="6">
        <dgm:presLayoutVars>
          <dgm:bulletEnabled val="1"/>
        </dgm:presLayoutVars>
      </dgm:prSet>
      <dgm:spPr/>
    </dgm:pt>
  </dgm:ptLst>
  <dgm:cxnLst>
    <dgm:cxn modelId="{26AE701B-46BC-4DC0-A279-0037F59E523D}" type="presOf" srcId="{EF587930-82B3-41BE-A00D-F64F81FCCFF8}" destId="{D18F99D5-99F8-4161-9EB2-CB4843E7331F}" srcOrd="0" destOrd="0" presId="urn:microsoft.com/office/officeart/2005/8/layout/hProcess9"/>
    <dgm:cxn modelId="{E7C9C71C-248C-4720-9D23-F11DAE3252FC}" srcId="{05902AA6-96DF-4A3D-9275-8D48946301A5}" destId="{A431A3E8-81A4-402D-8550-B73C5ABB7530}" srcOrd="4" destOrd="0" parTransId="{0F6F4F94-4E81-42E3-BBF5-74365704F1D2}" sibTransId="{871AE1BC-3E0F-4139-B438-5261D7C54CD2}"/>
    <dgm:cxn modelId="{423D7C1E-38C6-460F-A635-33BEACFEE653}" type="presOf" srcId="{209D9134-9B0A-46B8-A978-A46D3AB9A70B}" destId="{83AA8CCA-D335-4A93-AC1C-330B5DA904F3}" srcOrd="0" destOrd="1" presId="urn:microsoft.com/office/officeart/2005/8/layout/hProcess9"/>
    <dgm:cxn modelId="{44D33822-6320-4724-9338-448AC3797ABB}" type="presOf" srcId="{CAE99879-3F37-4933-8F2E-41550FF57BA5}" destId="{1B95D6BE-54AC-486B-960D-5BBA9E945FAA}" srcOrd="0" destOrd="0" presId="urn:microsoft.com/office/officeart/2005/8/layout/hProcess9"/>
    <dgm:cxn modelId="{DA925639-B7A1-4A2D-8A82-683E1A914727}" srcId="{05902AA6-96DF-4A3D-9275-8D48946301A5}" destId="{76DAE079-B32B-4283-B8E5-2EE75AD65A59}" srcOrd="0" destOrd="0" parTransId="{84D2D528-3AB7-45F7-9262-A3CAFFCAD497}" sibTransId="{BEAFAE59-DD53-4D6F-B610-3E54EE99762E}"/>
    <dgm:cxn modelId="{59DDB252-C2B1-4262-8132-132840F18953}" srcId="{05902AA6-96DF-4A3D-9275-8D48946301A5}" destId="{09A374C0-62C4-4E0B-A904-58D59AF48F32}" srcOrd="1" destOrd="0" parTransId="{A794A77B-C5A4-4759-BF16-D7547284FAD7}" sibTransId="{91AA41A5-345C-4889-8411-441251CBEFD2}"/>
    <dgm:cxn modelId="{EA8E8187-EC80-4BE9-A40D-81E1AE63C238}" type="presOf" srcId="{05902AA6-96DF-4A3D-9275-8D48946301A5}" destId="{D7B1A716-B5B0-407B-A520-0FE1D5607913}" srcOrd="0" destOrd="0" presId="urn:microsoft.com/office/officeart/2005/8/layout/hProcess9"/>
    <dgm:cxn modelId="{76EA4F88-F42E-4AAF-A6FD-230EE04DA525}" type="presOf" srcId="{09A374C0-62C4-4E0B-A904-58D59AF48F32}" destId="{A807AEA5-AB65-4BF0-8E8B-E03980A323BA}" srcOrd="0" destOrd="0" presId="urn:microsoft.com/office/officeart/2005/8/layout/hProcess9"/>
    <dgm:cxn modelId="{04D58992-ACA9-4CF9-9510-B57F43976584}" srcId="{05902AA6-96DF-4A3D-9275-8D48946301A5}" destId="{CAE99879-3F37-4933-8F2E-41550FF57BA5}" srcOrd="5" destOrd="0" parTransId="{35ED31CB-9374-4252-91ED-F0A0656B2D5D}" sibTransId="{3D2A2045-2C77-4067-88E9-920743C72B89}"/>
    <dgm:cxn modelId="{44ADECA1-22CD-4660-9307-36E5EE0867B4}" type="presOf" srcId="{84636778-9234-41B5-A9D5-F21D349A5678}" destId="{83AA8CCA-D335-4A93-AC1C-330B5DA904F3}" srcOrd="0" destOrd="0" presId="urn:microsoft.com/office/officeart/2005/8/layout/hProcess9"/>
    <dgm:cxn modelId="{8E70E2D5-3D78-4EB3-B765-10973609A3A4}" type="presOf" srcId="{A431A3E8-81A4-402D-8550-B73C5ABB7530}" destId="{8709D373-8470-4F0A-B3DA-319DD3871C6E}" srcOrd="0" destOrd="0" presId="urn:microsoft.com/office/officeart/2005/8/layout/hProcess9"/>
    <dgm:cxn modelId="{D42FC8D6-0AF1-40F3-8AFF-BB8A4C76A435}" srcId="{05902AA6-96DF-4A3D-9275-8D48946301A5}" destId="{84636778-9234-41B5-A9D5-F21D349A5678}" srcOrd="2" destOrd="0" parTransId="{CD349D7B-0146-47C0-97F5-86C0E2222880}" sibTransId="{F327EB18-4ACB-4AE1-ACE6-3D6FD7D0F317}"/>
    <dgm:cxn modelId="{A403F1D7-3E3A-4A7F-ADAD-FE5BFCC4F42F}" type="presOf" srcId="{76DAE079-B32B-4283-B8E5-2EE75AD65A59}" destId="{37DA1BDE-8D5F-4819-BD8B-AD266C3FDCFC}" srcOrd="0" destOrd="0" presId="urn:microsoft.com/office/officeart/2005/8/layout/hProcess9"/>
    <dgm:cxn modelId="{DDD4F9D8-2A18-40D0-9DF1-0FEE20A2349D}" srcId="{84636778-9234-41B5-A9D5-F21D349A5678}" destId="{209D9134-9B0A-46B8-A978-A46D3AB9A70B}" srcOrd="0" destOrd="0" parTransId="{CE1BE490-B66B-4A7E-B32E-0D7FD5E1C45F}" sibTransId="{067B6B4A-92FC-4FCC-BAF3-4FDAA345FFEB}"/>
    <dgm:cxn modelId="{F27DA3F7-DF95-4C95-99D7-2293EB3204B8}" srcId="{05902AA6-96DF-4A3D-9275-8D48946301A5}" destId="{EF587930-82B3-41BE-A00D-F64F81FCCFF8}" srcOrd="3" destOrd="0" parTransId="{1526125A-2D27-45FE-93E5-1A31AA34B547}" sibTransId="{4B2ABB52-9FEA-49BA-887A-7F45422BFC24}"/>
    <dgm:cxn modelId="{0F28DDAC-261E-4CDB-9341-ADA8799E02A3}" type="presParOf" srcId="{D7B1A716-B5B0-407B-A520-0FE1D5607913}" destId="{081C4271-97C9-4585-AD8B-C94394E078D9}" srcOrd="0" destOrd="0" presId="urn:microsoft.com/office/officeart/2005/8/layout/hProcess9"/>
    <dgm:cxn modelId="{206A1635-9FCD-4D2D-A4E0-05EF1AAA5493}" type="presParOf" srcId="{D7B1A716-B5B0-407B-A520-0FE1D5607913}" destId="{401C4F64-BCC8-4722-B382-7F946A6EB47F}" srcOrd="1" destOrd="0" presId="urn:microsoft.com/office/officeart/2005/8/layout/hProcess9"/>
    <dgm:cxn modelId="{46676C7C-4220-4403-8FF3-A11E3280BB0C}" type="presParOf" srcId="{401C4F64-BCC8-4722-B382-7F946A6EB47F}" destId="{37DA1BDE-8D5F-4819-BD8B-AD266C3FDCFC}" srcOrd="0" destOrd="0" presId="urn:microsoft.com/office/officeart/2005/8/layout/hProcess9"/>
    <dgm:cxn modelId="{4AB22494-F674-4FD1-9D2B-910A6B22A3C9}" type="presParOf" srcId="{401C4F64-BCC8-4722-B382-7F946A6EB47F}" destId="{2C3FA606-A13D-477D-9320-9CBC8CA6FB3C}" srcOrd="1" destOrd="0" presId="urn:microsoft.com/office/officeart/2005/8/layout/hProcess9"/>
    <dgm:cxn modelId="{F03A1F62-3807-488A-93D4-2EC91C1A1511}" type="presParOf" srcId="{401C4F64-BCC8-4722-B382-7F946A6EB47F}" destId="{A807AEA5-AB65-4BF0-8E8B-E03980A323BA}" srcOrd="2" destOrd="0" presId="urn:microsoft.com/office/officeart/2005/8/layout/hProcess9"/>
    <dgm:cxn modelId="{693CF837-929E-4AA0-9FEE-CC0ABE51709B}" type="presParOf" srcId="{401C4F64-BCC8-4722-B382-7F946A6EB47F}" destId="{9D28D710-BADF-4EAD-8656-CCB573ED810B}" srcOrd="3" destOrd="0" presId="urn:microsoft.com/office/officeart/2005/8/layout/hProcess9"/>
    <dgm:cxn modelId="{28F73F88-CF46-4A3E-A9F4-E0338C163921}" type="presParOf" srcId="{401C4F64-BCC8-4722-B382-7F946A6EB47F}" destId="{83AA8CCA-D335-4A93-AC1C-330B5DA904F3}" srcOrd="4" destOrd="0" presId="urn:microsoft.com/office/officeart/2005/8/layout/hProcess9"/>
    <dgm:cxn modelId="{2BB23242-CE01-41E9-A208-2936D65CDC3F}" type="presParOf" srcId="{401C4F64-BCC8-4722-B382-7F946A6EB47F}" destId="{34F7EBCD-0FC3-4A25-903E-A0C5299C0037}" srcOrd="5" destOrd="0" presId="urn:microsoft.com/office/officeart/2005/8/layout/hProcess9"/>
    <dgm:cxn modelId="{3FADE311-D254-4F8C-A6CA-6294501994D9}" type="presParOf" srcId="{401C4F64-BCC8-4722-B382-7F946A6EB47F}" destId="{D18F99D5-99F8-4161-9EB2-CB4843E7331F}" srcOrd="6" destOrd="0" presId="urn:microsoft.com/office/officeart/2005/8/layout/hProcess9"/>
    <dgm:cxn modelId="{5E22166E-FD24-4F71-8C35-6D2DA75CB193}" type="presParOf" srcId="{401C4F64-BCC8-4722-B382-7F946A6EB47F}" destId="{7CD19C5C-27C4-4B0E-BDB5-6CE424201113}" srcOrd="7" destOrd="0" presId="urn:microsoft.com/office/officeart/2005/8/layout/hProcess9"/>
    <dgm:cxn modelId="{F4B3FE32-0AB2-4198-B883-05941807817A}" type="presParOf" srcId="{401C4F64-BCC8-4722-B382-7F946A6EB47F}" destId="{8709D373-8470-4F0A-B3DA-319DD3871C6E}" srcOrd="8" destOrd="0" presId="urn:microsoft.com/office/officeart/2005/8/layout/hProcess9"/>
    <dgm:cxn modelId="{2B653B04-B0DA-4514-93CB-817CFA9CD3A3}" type="presParOf" srcId="{401C4F64-BCC8-4722-B382-7F946A6EB47F}" destId="{C7217561-D396-4B81-879A-04ECBF494CE2}" srcOrd="9" destOrd="0" presId="urn:microsoft.com/office/officeart/2005/8/layout/hProcess9"/>
    <dgm:cxn modelId="{CCD52344-3E27-4C0D-B94B-42115FA228DC}" type="presParOf" srcId="{401C4F64-BCC8-4722-B382-7F946A6EB47F}" destId="{1B95D6BE-54AC-486B-960D-5BBA9E945FAA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2266"/>
          <a:ext cx="2903039" cy="1090084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 dirty="0"/>
            <a:t>Überblick Transfermarkt</a:t>
          </a:r>
        </a:p>
      </dsp:txBody>
      <dsp:txXfrm>
        <a:off x="2633693" y="55480"/>
        <a:ext cx="2796611" cy="983656"/>
      </dsp:txXfrm>
    </dsp:sp>
    <dsp:sp modelId="{95715669-8423-43AC-AAE0-14D3390F5CFC}">
      <dsp:nvSpPr>
        <dsp:cNvPr id="0" name=""/>
        <dsp:cNvSpPr/>
      </dsp:nvSpPr>
      <dsp:spPr>
        <a:xfrm>
          <a:off x="2580479" y="1146854"/>
          <a:ext cx="2903039" cy="1090084"/>
        </a:xfrm>
        <a:prstGeom prst="roundRect">
          <a:avLst/>
        </a:prstGeom>
        <a:solidFill>
          <a:schemeClr val="accent2">
            <a:shade val="80000"/>
            <a:hueOff val="276124"/>
            <a:satOff val="-22124"/>
            <a:lumOff val="127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/>
            <a:t>Zwischenstand Web-Scraping</a:t>
          </a:r>
        </a:p>
      </dsp:txBody>
      <dsp:txXfrm>
        <a:off x="2633693" y="1200068"/>
        <a:ext cx="2796611" cy="983656"/>
      </dsp:txXfrm>
    </dsp:sp>
    <dsp:sp modelId="{D3876921-7BEB-4E83-B399-BA9C72B8EBB3}">
      <dsp:nvSpPr>
        <dsp:cNvPr id="0" name=""/>
        <dsp:cNvSpPr/>
      </dsp:nvSpPr>
      <dsp:spPr>
        <a:xfrm>
          <a:off x="2580479" y="2291443"/>
          <a:ext cx="2903039" cy="1090084"/>
        </a:xfrm>
        <a:prstGeom prst="roundRect">
          <a:avLst/>
        </a:prstGeom>
        <a:solidFill>
          <a:schemeClr val="accent2">
            <a:shade val="80000"/>
            <a:hueOff val="552247"/>
            <a:satOff val="-44248"/>
            <a:lumOff val="2546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/>
            <a:t>Benchmarking</a:t>
          </a:r>
        </a:p>
      </dsp:txBody>
      <dsp:txXfrm>
        <a:off x="2633693" y="2344657"/>
        <a:ext cx="2796611" cy="983656"/>
      </dsp:txXfrm>
    </dsp:sp>
    <dsp:sp modelId="{ECDB91A6-652D-454F-B65A-30749F0E0B14}">
      <dsp:nvSpPr>
        <dsp:cNvPr id="0" name=""/>
        <dsp:cNvSpPr/>
      </dsp:nvSpPr>
      <dsp:spPr>
        <a:xfrm>
          <a:off x="2580479" y="3436031"/>
          <a:ext cx="2903039" cy="1090084"/>
        </a:xfrm>
        <a:prstGeom prst="roundRect">
          <a:avLst/>
        </a:prstGeom>
        <a:solidFill>
          <a:schemeClr val="accent2">
            <a:shade val="80000"/>
            <a:hueOff val="828371"/>
            <a:satOff val="-66372"/>
            <a:lumOff val="381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/>
            <a:t>Next Steps</a:t>
          </a:r>
        </a:p>
      </dsp:txBody>
      <dsp:txXfrm>
        <a:off x="2633693" y="3489245"/>
        <a:ext cx="2796611" cy="98365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D53A3B-4D5B-47BB-B8E8-5B53B272AFD5}">
      <dsp:nvSpPr>
        <dsp:cNvPr id="0" name=""/>
        <dsp:cNvSpPr/>
      </dsp:nvSpPr>
      <dsp:spPr>
        <a:xfrm>
          <a:off x="3239532" y="129058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721F6CC-2D4D-4521-84B5-C4C8FA293CEB}">
      <dsp:nvSpPr>
        <dsp:cNvPr id="0" name=""/>
        <dsp:cNvSpPr/>
      </dsp:nvSpPr>
      <dsp:spPr>
        <a:xfrm>
          <a:off x="3112737" y="0"/>
          <a:ext cx="1838523" cy="1064169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News und Transfergerüchte aus aller Welt</a:t>
          </a:r>
        </a:p>
      </dsp:txBody>
      <dsp:txXfrm>
        <a:off x="3112737" y="0"/>
        <a:ext cx="1838523" cy="1064169"/>
      </dsp:txXfrm>
    </dsp:sp>
    <dsp:sp modelId="{A8C09EF0-172F-42CF-A6C9-C0FFCC582545}">
      <dsp:nvSpPr>
        <dsp:cNvPr id="0" name=""/>
        <dsp:cNvSpPr/>
      </dsp:nvSpPr>
      <dsp:spPr>
        <a:xfrm>
          <a:off x="3842441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97D19D9-E8BE-46A0-8F84-808AF46585ED}">
      <dsp:nvSpPr>
        <dsp:cNvPr id="0" name=""/>
        <dsp:cNvSpPr/>
      </dsp:nvSpPr>
      <dsp:spPr>
        <a:xfrm>
          <a:off x="5553535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Statistiken zu Spielern, Mannschaften und Ligen</a:t>
          </a:r>
        </a:p>
      </dsp:txBody>
      <dsp:txXfrm>
        <a:off x="5553535" y="1403798"/>
        <a:ext cx="1648331" cy="1154737"/>
      </dsp:txXfrm>
    </dsp:sp>
    <dsp:sp modelId="{EF17E774-C656-4AC4-A38F-62D88E02B32D}">
      <dsp:nvSpPr>
        <dsp:cNvPr id="0" name=""/>
        <dsp:cNvSpPr/>
      </dsp:nvSpPr>
      <dsp:spPr>
        <a:xfrm>
          <a:off x="3612309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B3814468-3C2D-418C-9180-F3424EBA280F}">
      <dsp:nvSpPr>
        <dsp:cNvPr id="0" name=""/>
        <dsp:cNvSpPr/>
      </dsp:nvSpPr>
      <dsp:spPr>
        <a:xfrm>
          <a:off x="5299946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Spieler- und Mannschaftsprofile</a:t>
          </a:r>
        </a:p>
      </dsp:txBody>
      <dsp:txXfrm>
        <a:off x="5299946" y="3373644"/>
        <a:ext cx="1648331" cy="1154737"/>
      </dsp:txXfrm>
    </dsp:sp>
    <dsp:sp modelId="{18D027AC-83EC-4A74-84C6-62DF738F1D44}">
      <dsp:nvSpPr>
        <dsp:cNvPr id="0" name=""/>
        <dsp:cNvSpPr/>
      </dsp:nvSpPr>
      <dsp:spPr>
        <a:xfrm>
          <a:off x="2866756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EF770828-0B3A-4F54-8CAC-F67E8B9F2DF9}">
      <dsp:nvSpPr>
        <dsp:cNvPr id="0" name=""/>
        <dsp:cNvSpPr/>
      </dsp:nvSpPr>
      <dsp:spPr>
        <a:xfrm>
          <a:off x="1115721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Transfermarkt-Werte für Spieler und Mannschaften</a:t>
          </a:r>
        </a:p>
      </dsp:txBody>
      <dsp:txXfrm>
        <a:off x="1115721" y="3373644"/>
        <a:ext cx="1648331" cy="1154737"/>
      </dsp:txXfrm>
    </dsp:sp>
    <dsp:sp modelId="{13E045FB-34D1-410B-B223-B8C458FCC7CA}">
      <dsp:nvSpPr>
        <dsp:cNvPr id="0" name=""/>
        <dsp:cNvSpPr/>
      </dsp:nvSpPr>
      <dsp:spPr>
        <a:xfrm>
          <a:off x="2636623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5E0845A9-FCF2-47B3-8B0C-C226CD5FB40B}">
      <dsp:nvSpPr>
        <dsp:cNvPr id="0" name=""/>
        <dsp:cNvSpPr/>
      </dsp:nvSpPr>
      <dsp:spPr>
        <a:xfrm>
          <a:off x="862132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Community von Fußballfans, die sich über Transfers, Statistiken und andere Themen austauschen können</a:t>
          </a:r>
        </a:p>
      </dsp:txBody>
      <dsp:txXfrm>
        <a:off x="862132" y="1403798"/>
        <a:ext cx="1648331" cy="115473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8AB344-DDA2-4C65-9FAE-8474291F8300}">
      <dsp:nvSpPr>
        <dsp:cNvPr id="0" name=""/>
        <dsp:cNvSpPr/>
      </dsp:nvSpPr>
      <dsp:spPr>
        <a:xfrm>
          <a:off x="4031999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3562627" y="89260"/>
              </a:lnTo>
              <a:lnTo>
                <a:pt x="3562627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650D1E-3017-4717-95CC-BB314B759F2C}">
      <dsp:nvSpPr>
        <dsp:cNvPr id="0" name=""/>
        <dsp:cNvSpPr/>
      </dsp:nvSpPr>
      <dsp:spPr>
        <a:xfrm>
          <a:off x="4031999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2544734" y="89260"/>
              </a:lnTo>
              <a:lnTo>
                <a:pt x="2544734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1526840" y="89260"/>
              </a:lnTo>
              <a:lnTo>
                <a:pt x="152684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508946" y="89260"/>
              </a:lnTo>
              <a:lnTo>
                <a:pt x="508946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523052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508946" y="45720"/>
              </a:moveTo>
              <a:lnTo>
                <a:pt x="508946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50515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1526840" y="45720"/>
              </a:moveTo>
              <a:lnTo>
                <a:pt x="1526840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487265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2544734" y="45720"/>
              </a:moveTo>
              <a:lnTo>
                <a:pt x="2544734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469371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3562627" y="45720"/>
              </a:moveTo>
              <a:lnTo>
                <a:pt x="3562627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566592" y="1079421"/>
          <a:ext cx="930813" cy="547087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ttribute</a:t>
          </a:r>
        </a:p>
      </dsp:txBody>
      <dsp:txXfrm>
        <a:off x="3566592" y="1079421"/>
        <a:ext cx="930813" cy="547087"/>
      </dsp:txXfrm>
    </dsp:sp>
    <dsp:sp modelId="{BCA0F817-645B-4DF6-B98A-68FC4A66FB72}">
      <dsp:nvSpPr>
        <dsp:cNvPr id="0" name=""/>
        <dsp:cNvSpPr/>
      </dsp:nvSpPr>
      <dsp:spPr>
        <a:xfrm>
          <a:off x="3965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pieldatum</a:t>
          </a:r>
        </a:p>
      </dsp:txBody>
      <dsp:txXfrm>
        <a:off x="3965" y="1713590"/>
        <a:ext cx="930813" cy="547087"/>
      </dsp:txXfrm>
    </dsp:sp>
    <dsp:sp modelId="{919252C1-5E8F-4C1E-8B07-9019D6B598DF}">
      <dsp:nvSpPr>
        <dsp:cNvPr id="0" name=""/>
        <dsp:cNvSpPr/>
      </dsp:nvSpPr>
      <dsp:spPr>
        <a:xfrm>
          <a:off x="1021858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aison</a:t>
          </a:r>
        </a:p>
      </dsp:txBody>
      <dsp:txXfrm>
        <a:off x="1021858" y="1713590"/>
        <a:ext cx="930813" cy="547087"/>
      </dsp:txXfrm>
    </dsp:sp>
    <dsp:sp modelId="{CB31C50E-0282-4D4F-B0CC-4E9722E2149F}">
      <dsp:nvSpPr>
        <dsp:cNvPr id="0" name=""/>
        <dsp:cNvSpPr/>
      </dsp:nvSpPr>
      <dsp:spPr>
        <a:xfrm>
          <a:off x="2039752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pieltag</a:t>
          </a:r>
        </a:p>
      </dsp:txBody>
      <dsp:txXfrm>
        <a:off x="2039752" y="1713590"/>
        <a:ext cx="930813" cy="547087"/>
      </dsp:txXfrm>
    </dsp:sp>
    <dsp:sp modelId="{609EB9A4-2680-422B-ADA3-4CA28FF595B7}">
      <dsp:nvSpPr>
        <dsp:cNvPr id="0" name=""/>
        <dsp:cNvSpPr/>
      </dsp:nvSpPr>
      <dsp:spPr>
        <a:xfrm>
          <a:off x="305764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Heim- und Auswärtsteam</a:t>
          </a:r>
        </a:p>
      </dsp:txBody>
      <dsp:txXfrm>
        <a:off x="3057646" y="1713590"/>
        <a:ext cx="930813" cy="547087"/>
      </dsp:txXfrm>
    </dsp:sp>
    <dsp:sp modelId="{8A836A0C-FAC7-4158-B0FF-92C12F5D70AB}">
      <dsp:nvSpPr>
        <dsp:cNvPr id="0" name=""/>
        <dsp:cNvSpPr/>
      </dsp:nvSpPr>
      <dsp:spPr>
        <a:xfrm>
          <a:off x="4075539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Platzierungen beider Teams vor dem Spiel</a:t>
          </a:r>
        </a:p>
      </dsp:txBody>
      <dsp:txXfrm>
        <a:off x="4075539" y="1713590"/>
        <a:ext cx="930813" cy="547087"/>
      </dsp:txXfrm>
    </dsp:sp>
    <dsp:sp modelId="{6E21471F-70DD-425A-96EB-D138019D0017}">
      <dsp:nvSpPr>
        <dsp:cNvPr id="0" name=""/>
        <dsp:cNvSpPr/>
      </dsp:nvSpPr>
      <dsp:spPr>
        <a:xfrm>
          <a:off x="5093433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Tipprundenten-</a:t>
          </a:r>
          <a:r>
            <a:rPr lang="de-DE" sz="1000" kern="1200" dirty="0" err="1"/>
            <a:t>denzen</a:t>
          </a:r>
          <a:endParaRPr lang="de-DE" sz="1000" kern="1200" dirty="0"/>
        </a:p>
      </dsp:txBody>
      <dsp:txXfrm>
        <a:off x="5093433" y="1713590"/>
        <a:ext cx="930813" cy="547087"/>
      </dsp:txXfrm>
    </dsp:sp>
    <dsp:sp modelId="{09F933FE-904C-41E0-8847-5EE14ADC5F19}">
      <dsp:nvSpPr>
        <dsp:cNvPr id="0" name=""/>
        <dsp:cNvSpPr/>
      </dsp:nvSpPr>
      <dsp:spPr>
        <a:xfrm>
          <a:off x="611132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Geschossene Tore beider Teams</a:t>
          </a:r>
        </a:p>
      </dsp:txBody>
      <dsp:txXfrm>
        <a:off x="6111326" y="1713590"/>
        <a:ext cx="930813" cy="547087"/>
      </dsp:txXfrm>
    </dsp:sp>
    <dsp:sp modelId="{3D4EB2F9-3B09-45FA-A6CC-B4ABB57F75C1}">
      <dsp:nvSpPr>
        <dsp:cNvPr id="0" name=""/>
        <dsp:cNvSpPr/>
      </dsp:nvSpPr>
      <dsp:spPr>
        <a:xfrm>
          <a:off x="7129220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chiedsrichter</a:t>
          </a:r>
        </a:p>
      </dsp:txBody>
      <dsp:txXfrm>
        <a:off x="7129220" y="1713590"/>
        <a:ext cx="930813" cy="54708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650D1E-3017-4717-95CC-BB314B759F2C}">
      <dsp:nvSpPr>
        <dsp:cNvPr id="0" name=""/>
        <dsp:cNvSpPr/>
      </dsp:nvSpPr>
      <dsp:spPr>
        <a:xfrm>
          <a:off x="4031999" y="1620179"/>
          <a:ext cx="3497687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3497687" y="49870"/>
              </a:lnTo>
              <a:lnTo>
                <a:pt x="3497687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620179"/>
          <a:ext cx="2331791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2331791" y="49870"/>
              </a:lnTo>
              <a:lnTo>
                <a:pt x="2331791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620179"/>
          <a:ext cx="1165895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1165895" y="49870"/>
              </a:lnTo>
              <a:lnTo>
                <a:pt x="1165895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620179"/>
          <a:ext cx="91440" cy="9974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620179"/>
          <a:ext cx="1165895" cy="99741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620179"/>
          <a:ext cx="2331791" cy="99741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620179"/>
          <a:ext cx="3497687" cy="99741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993544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498922" y="993544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Verei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aison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nzahl Kader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-alter der Spieler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nzahl Legionäre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licher Marktwert</a:t>
          </a:r>
        </a:p>
      </dsp:txBody>
      <dsp:txXfrm>
        <a:off x="5830714" y="1719920"/>
        <a:ext cx="1066154" cy="626634"/>
      </dsp:txXfrm>
    </dsp:sp>
    <dsp:sp modelId="{09F933FE-904C-41E0-8847-5EE14ADC5F19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- wert</a:t>
          </a:r>
        </a:p>
      </dsp:txBody>
      <dsp:txXfrm>
        <a:off x="6996610" y="1719920"/>
        <a:ext cx="1066154" cy="62663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650D1E-3017-4717-95CC-BB314B759F2C}">
      <dsp:nvSpPr>
        <dsp:cNvPr id="0" name=""/>
        <dsp:cNvSpPr/>
      </dsp:nvSpPr>
      <dsp:spPr>
        <a:xfrm>
          <a:off x="4031999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3497687" y="202285"/>
              </a:lnTo>
              <a:lnTo>
                <a:pt x="3497687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2331791" y="202285"/>
              </a:lnTo>
              <a:lnTo>
                <a:pt x="2331791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1165895" y="202285"/>
              </a:lnTo>
              <a:lnTo>
                <a:pt x="1165895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467764"/>
          <a:ext cx="91440" cy="25215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841129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498922" y="841129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Verei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alter der Zugänge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alter der Abgänge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wert der Zugänge in Mio.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wert der Abgänge in Mio.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usgaben durch Zugänge in Mio.</a:t>
          </a:r>
        </a:p>
      </dsp:txBody>
      <dsp:txXfrm>
        <a:off x="5830714" y="1719920"/>
        <a:ext cx="1066154" cy="626634"/>
      </dsp:txXfrm>
    </dsp:sp>
    <dsp:sp modelId="{09F933FE-904C-41E0-8847-5EE14ADC5F19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Einnahmen durch Abgänge in Mio.</a:t>
          </a:r>
        </a:p>
      </dsp:txBody>
      <dsp:txXfrm>
        <a:off x="6996610" y="1719920"/>
        <a:ext cx="1066154" cy="62663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1C4271-97C9-4585-AD8B-C94394E078D9}">
      <dsp:nvSpPr>
        <dsp:cNvPr id="0" name=""/>
        <dsp:cNvSpPr/>
      </dsp:nvSpPr>
      <dsp:spPr>
        <a:xfrm>
          <a:off x="604799" y="0"/>
          <a:ext cx="6854399" cy="4528382"/>
        </a:xfrm>
        <a:prstGeom prst="rightArrow">
          <a:avLst/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DA1BDE-8D5F-4819-BD8B-AD266C3FDCFC}">
      <dsp:nvSpPr>
        <dsp:cNvPr id="0" name=""/>
        <dsp:cNvSpPr/>
      </dsp:nvSpPr>
      <dsp:spPr>
        <a:xfrm>
          <a:off x="2214" y="1358514"/>
          <a:ext cx="1289531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Weitere Daten </a:t>
          </a:r>
          <a:r>
            <a:rPr lang="de-DE" sz="1100" kern="1200" dirty="0" err="1"/>
            <a:t>scrapen</a:t>
          </a:r>
          <a:r>
            <a:rPr lang="de-DE" sz="1100" kern="1200" dirty="0"/>
            <a:t>: z. B. Wetterdaten</a:t>
          </a:r>
        </a:p>
      </dsp:txBody>
      <dsp:txXfrm>
        <a:off x="65164" y="1421464"/>
        <a:ext cx="1163631" cy="1685452"/>
      </dsp:txXfrm>
    </dsp:sp>
    <dsp:sp modelId="{A807AEA5-AB65-4BF0-8E8B-E03980A323BA}">
      <dsp:nvSpPr>
        <dsp:cNvPr id="0" name=""/>
        <dsp:cNvSpPr/>
      </dsp:nvSpPr>
      <dsp:spPr>
        <a:xfrm>
          <a:off x="1356222" y="1358514"/>
          <a:ext cx="1289531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Auslagern von Web-</a:t>
          </a:r>
          <a:r>
            <a:rPr lang="de-DE" sz="1100" kern="1200" dirty="0" err="1"/>
            <a:t>Scraping</a:t>
          </a:r>
          <a:r>
            <a:rPr lang="de-DE" sz="1100" kern="1200" dirty="0"/>
            <a:t>-Code in separate Python-Dateien</a:t>
          </a:r>
        </a:p>
      </dsp:txBody>
      <dsp:txXfrm>
        <a:off x="1419172" y="1421464"/>
        <a:ext cx="1163631" cy="1685452"/>
      </dsp:txXfrm>
    </dsp:sp>
    <dsp:sp modelId="{83AA8CCA-D335-4A93-AC1C-330B5DA904F3}">
      <dsp:nvSpPr>
        <dsp:cNvPr id="0" name=""/>
        <dsp:cNvSpPr/>
      </dsp:nvSpPr>
      <dsp:spPr>
        <a:xfrm>
          <a:off x="2710230" y="1358514"/>
          <a:ext cx="1289531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Features berechnen, welche aktuelle Form der Teams beschreiben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900" kern="1200"/>
            <a:t>z. B. Siege, Unentschieden und Niederlagen in den letzten x Spielen</a:t>
          </a:r>
        </a:p>
      </dsp:txBody>
      <dsp:txXfrm>
        <a:off x="2773180" y="1421464"/>
        <a:ext cx="1163631" cy="1685452"/>
      </dsp:txXfrm>
    </dsp:sp>
    <dsp:sp modelId="{D18F99D5-99F8-4161-9EB2-CB4843E7331F}">
      <dsp:nvSpPr>
        <dsp:cNvPr id="0" name=""/>
        <dsp:cNvSpPr/>
      </dsp:nvSpPr>
      <dsp:spPr>
        <a:xfrm>
          <a:off x="4064237" y="1358514"/>
          <a:ext cx="1289531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Statistische Datenanalyse</a:t>
          </a:r>
        </a:p>
      </dsp:txBody>
      <dsp:txXfrm>
        <a:off x="4127187" y="1421464"/>
        <a:ext cx="1163631" cy="1685452"/>
      </dsp:txXfrm>
    </dsp:sp>
    <dsp:sp modelId="{8709D373-8470-4F0A-B3DA-319DD3871C6E}">
      <dsp:nvSpPr>
        <dsp:cNvPr id="0" name=""/>
        <dsp:cNvSpPr/>
      </dsp:nvSpPr>
      <dsp:spPr>
        <a:xfrm>
          <a:off x="5418245" y="1358514"/>
          <a:ext cx="1289531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Feature Engineering und Modelling</a:t>
          </a:r>
        </a:p>
      </dsp:txBody>
      <dsp:txXfrm>
        <a:off x="5481195" y="1421464"/>
        <a:ext cx="1163631" cy="1685452"/>
      </dsp:txXfrm>
    </dsp:sp>
    <dsp:sp modelId="{1B95D6BE-54AC-486B-960D-5BBA9E945FAA}">
      <dsp:nvSpPr>
        <dsp:cNvPr id="0" name=""/>
        <dsp:cNvSpPr/>
      </dsp:nvSpPr>
      <dsp:spPr>
        <a:xfrm>
          <a:off x="6772253" y="1358514"/>
          <a:ext cx="1289531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Modellevaluation und Benchmarking</a:t>
          </a:r>
        </a:p>
      </dsp:txBody>
      <dsp:txXfrm>
        <a:off x="6835203" y="1421464"/>
        <a:ext cx="1163631" cy="168545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12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61960" imgH="10047960" progId="">
                  <p:embed/>
                </p:oleObj>
              </mc:Choice>
              <mc:Fallback>
                <p:oleObj name="think-cell Folie" r:id="rId3" imgW="7761960" imgH="10047960" progId="">
                  <p:embed/>
                  <p:pic>
                    <p:nvPicPr>
                      <p:cNvPr id="0" name="Picture 1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61960" imgH="10047960" progId="">
                  <p:embed/>
                </p:oleObj>
              </mc:Choice>
              <mc:Fallback>
                <p:oleObj name="think-cell Folie" r:id="rId3" imgW="7761960" imgH="100479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C2B0189-9A52-6C4C-A12C-68DF1D8497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25994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7761960" imgH="10047960" progId="">
                  <p:embed/>
                </p:oleObj>
              </mc:Choice>
              <mc:Fallback>
                <p:oleObj name="think-cell Folie" r:id="rId13" imgW="7761960" imgH="10047960" progId="">
                  <p:embed/>
                  <p:pic>
                    <p:nvPicPr>
                      <p:cNvPr id="0" name="Picture 2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2" y="6134400"/>
            <a:ext cx="644207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Prof. Dr. Gawron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2023)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SIPCMContentMarking" descr="{&quot;HashCode&quot;:-1699574231,&quot;Placement&quot;:&quot;Footer&quot;,&quot;Top&quot;:523.380066,&quot;Left&quot;:0.0,&quot;SlideWidth&quot;:720,&quot;SlideHeight&quot;:540}">
            <a:extLst>
              <a:ext uri="{FF2B5EF4-FFF2-40B4-BE49-F238E27FC236}">
                <a16:creationId xmlns:a16="http://schemas.microsoft.com/office/drawing/2014/main" id="{8AF2A6CD-C9E7-BF23-BD73-BEC0CE1C916E}"/>
              </a:ext>
            </a:extLst>
          </p:cNvPr>
          <p:cNvSpPr txBox="1"/>
          <p:nvPr userDrawn="1"/>
        </p:nvSpPr>
        <p:spPr>
          <a:xfrm>
            <a:off x="0" y="6646927"/>
            <a:ext cx="619703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e-DE" sz="700">
                <a:solidFill>
                  <a:srgbClr val="000000"/>
                </a:solidFill>
                <a:latin typeface="Calibri" panose="020F0502020204030204" pitchFamily="34" charset="0"/>
              </a:rPr>
              <a:t>C2 Gener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d1wqtxts1xzle7.cloudfront.net/48117997/bf0229599620160817-8553-1ubbzhr-libre.pdf?1471439562=&amp;response-content-disposition=inline%3B+filename%3DNote_on_the_sampling_error_of_the_differ.pdf&amp;Expires=1690101344&amp;Signature=GRyjRibAHJe1iFy0bA9gO9-YlB-mspyKmKTIyakjONkQKgK8TOQURKDsz8zsrP0554zbtk-nb84ncVeH0dc4smYdhlR6uuWfpzyM241JXupmhUx9-e5lm2E7JlmN63N0HK1XovQBnRMwI0XIacziwzbFuE8gsUGao6hWLV54nHcTxvcMpMyGP0NTFtiiKlMT8biNf9rT72AIIUoSm~ef3CKzM-0ZR7Nc~sko-8aNRNtVaPo2D~E8yIdtoxo-r7Lde~WCYmFMT6c--9CNd9i8JS73MmUl3zjahuT~UqvWMA8GaFDQAJVf6sPaRP074eNR-5OVKTswwskx7GdOcUnFsw__&amp;Key-Pair-Id=APKAJLOHF5GGSLRBV4ZA" TargetMode="Externa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diagramLayout" Target="../diagrams/layout3.xml"/><Relationship Id="rId7" Type="http://schemas.openxmlformats.org/officeDocument/2006/relationships/hyperlink" Target="https://www.transfermarkt.de/bundesliga/spieltag/wettbewerb/L1/spieltag/34/saison_id/2022" TargetMode="Externa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12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13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orhersage von Spielergebnissen der ersten Bundesliga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07D9122-B115-5742-5344-96AFEEBEC1D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bf0229599620160817-8553-1ubbzhr-libre.pdf (d1wqtxts1xzle7.cloudfront.net)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 Beispi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9" y="1448673"/>
            <a:ext cx="7991792" cy="806848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37988F51-3C90-D9CD-8852-EC0E49EB5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1674415"/>
              </p:ext>
            </p:extLst>
          </p:nvPr>
        </p:nvGraphicFramePr>
        <p:xfrm>
          <a:off x="1212374" y="3640161"/>
          <a:ext cx="3149600" cy="737500"/>
        </p:xfrm>
        <a:graphic>
          <a:graphicData uri="http://schemas.openxmlformats.org/drawingml/2006/table">
            <a:tbl>
              <a:tblPr/>
              <a:tblGrid>
                <a:gridCol w="873324">
                  <a:extLst>
                    <a:ext uri="{9D8B030D-6E8A-4147-A177-3AD203B41FA5}">
                      <a16:colId xmlns:a16="http://schemas.microsoft.com/office/drawing/2014/main" val="831428165"/>
                    </a:ext>
                  </a:extLst>
                </a:gridCol>
                <a:gridCol w="873324">
                  <a:extLst>
                    <a:ext uri="{9D8B030D-6E8A-4147-A177-3AD203B41FA5}">
                      <a16:colId xmlns:a16="http://schemas.microsoft.com/office/drawing/2014/main" val="1022514035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2323498985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961538481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69779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4958998"/>
                  </a:ext>
                </a:extLst>
              </a:tr>
              <a:tr h="1828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860362"/>
                  </a:ext>
                </a:extLst>
              </a:tr>
              <a:tr h="18886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535751"/>
                  </a:ext>
                </a:extLst>
              </a:tr>
            </a:tbl>
          </a:graphicData>
        </a:graphic>
      </p:graphicFrame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81B33DBF-4969-8B23-0C6A-D93434BC46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7677133"/>
              </p:ext>
            </p:extLst>
          </p:nvPr>
        </p:nvGraphicFramePr>
        <p:xfrm>
          <a:off x="4704673" y="3646141"/>
          <a:ext cx="3149600" cy="731520"/>
        </p:xfrm>
        <a:graphic>
          <a:graphicData uri="http://schemas.openxmlformats.org/drawingml/2006/table">
            <a:tbl>
              <a:tblPr/>
              <a:tblGrid>
                <a:gridCol w="873324">
                  <a:extLst>
                    <a:ext uri="{9D8B030D-6E8A-4147-A177-3AD203B41FA5}">
                      <a16:colId xmlns:a16="http://schemas.microsoft.com/office/drawing/2014/main" val="777577525"/>
                    </a:ext>
                  </a:extLst>
                </a:gridCol>
                <a:gridCol w="873324">
                  <a:extLst>
                    <a:ext uri="{9D8B030D-6E8A-4147-A177-3AD203B41FA5}">
                      <a16:colId xmlns:a16="http://schemas.microsoft.com/office/drawing/2014/main" val="3294933564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1663674980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2638895200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424733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0176256"/>
                  </a:ext>
                </a:extLst>
              </a:tr>
              <a:tr h="1828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1387206"/>
                  </a:ext>
                </a:extLst>
              </a:tr>
              <a:tr h="18288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898969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2" name="Inhaltsplatzhalter 2">
                <a:extLst>
                  <a:ext uri="{FF2B5EF4-FFF2-40B4-BE49-F238E27FC236}">
                    <a16:creationId xmlns:a16="http://schemas.microsoft.com/office/drawing/2014/main" id="{3642F8AF-EFC8-342C-F01A-33D53B0CB1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73088" y="4521461"/>
                <a:ext cx="8163834" cy="887866"/>
              </a:xfrm>
              <a:prstGeom prst="rect">
                <a:avLst/>
              </a:prstGeom>
            </p:spPr>
            <p:txBody>
              <a:bodyPr/>
              <a:lstStyle>
                <a:lvl1pPr marL="188913" indent="-188913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65163" indent="-28575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2pPr>
                <a:lvl3pPr marL="10842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3pPr>
                <a:lvl4pPr marL="15033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4pPr>
                <a:lvl5pPr marL="19224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5pPr>
                <a:lvl6pPr marL="23796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8368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2940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7512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indent="0">
                  <a:buNone/>
                </a:pPr>
                <a:r>
                  <a:rPr lang="de-DE" sz="1200" kern="0" dirty="0"/>
                  <a:t>Teststatistik: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200" i="1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de-DE" sz="12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de-DE" sz="12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𝑐</m:t>
                                </m:r>
                              </m:e>
                            </m:d>
                          </m:e>
                          <m:sup>
                            <m:r>
                              <a:rPr lang="de-DE" sz="12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𝑐</m:t>
                        </m:r>
                      </m:den>
                    </m:f>
                  </m:oMath>
                </a14:m>
                <a:endParaRPr lang="de-DE" sz="1200" dirty="0"/>
              </a:p>
              <a:p>
                <a:pPr marL="0" indent="0">
                  <a:buNone/>
                </a:pPr>
                <a:r>
                  <a:rPr lang="de-DE" sz="1200" dirty="0"/>
                  <a:t>Kritischer Wert der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sz="1200" dirty="0"/>
                  <a:t>-Verteilung mit 1 Freiheitsgrad und 95%-Quantil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;0,95</m:t>
                        </m:r>
                      </m:sub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/>
                  <a:t> = 3.84</a:t>
                </a:r>
              </a:p>
              <a:p>
                <a:pPr marL="0" indent="0">
                  <a:buNone/>
                </a:pPr>
                <a:endParaRPr lang="de-DE" sz="1200" dirty="0"/>
              </a:p>
              <a:p>
                <a:pPr marL="0" indent="0">
                  <a:buNone/>
                </a:pPr>
                <a:r>
                  <a:rPr lang="de-DE" sz="1200" dirty="0"/>
                  <a:t>Nullhypothese ablehnen, falls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&gt;</m:t>
                    </m:r>
                    <m:sSubSup>
                      <m:sSub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;0,95</m:t>
                        </m:r>
                      </m:sub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endParaRPr lang="de-DE" sz="1200" dirty="0"/>
              </a:p>
            </p:txBody>
          </p:sp>
        </mc:Choice>
        <mc:Fallback xmlns="">
          <p:sp>
            <p:nvSpPr>
              <p:cNvPr id="12" name="Inhaltsplatzhalter 2">
                <a:extLst>
                  <a:ext uri="{FF2B5EF4-FFF2-40B4-BE49-F238E27FC236}">
                    <a16:creationId xmlns:a16="http://schemas.microsoft.com/office/drawing/2014/main" id="{3642F8AF-EFC8-342C-F01A-33D53B0CB1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3088" y="4521461"/>
                <a:ext cx="8163834" cy="887866"/>
              </a:xfrm>
              <a:prstGeom prst="rect">
                <a:avLst/>
              </a:prstGeom>
              <a:blipFill>
                <a:blip r:embed="rId3"/>
                <a:stretch>
                  <a:fillRect b="-3517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D6770FB0-48C5-018E-22DC-4AA26DB2B3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1828962"/>
              </p:ext>
            </p:extLst>
          </p:nvPr>
        </p:nvGraphicFramePr>
        <p:xfrm>
          <a:off x="1224873" y="1197781"/>
          <a:ext cx="6629400" cy="2377440"/>
        </p:xfrm>
        <a:graphic>
          <a:graphicData uri="http://schemas.openxmlformats.org/drawingml/2006/table">
            <a:tbl>
              <a:tblPr/>
              <a:tblGrid>
                <a:gridCol w="433076">
                  <a:extLst>
                    <a:ext uri="{9D8B030D-6E8A-4147-A177-3AD203B41FA5}">
                      <a16:colId xmlns:a16="http://schemas.microsoft.com/office/drawing/2014/main" val="1645983625"/>
                    </a:ext>
                  </a:extLst>
                </a:gridCol>
                <a:gridCol w="1099348">
                  <a:extLst>
                    <a:ext uri="{9D8B030D-6E8A-4147-A177-3AD203B41FA5}">
                      <a16:colId xmlns:a16="http://schemas.microsoft.com/office/drawing/2014/main" val="527897535"/>
                    </a:ext>
                  </a:extLst>
                </a:gridCol>
                <a:gridCol w="1132661">
                  <a:extLst>
                    <a:ext uri="{9D8B030D-6E8A-4147-A177-3AD203B41FA5}">
                      <a16:colId xmlns:a16="http://schemas.microsoft.com/office/drawing/2014/main" val="1722899767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3566156408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1866810721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1768792432"/>
                    </a:ext>
                  </a:extLst>
                </a:gridCol>
                <a:gridCol w="266509">
                  <a:extLst>
                    <a:ext uri="{9D8B030D-6E8A-4147-A177-3AD203B41FA5}">
                      <a16:colId xmlns:a16="http://schemas.microsoft.com/office/drawing/2014/main" val="1714470662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ie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te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swärtste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gebni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78447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2963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26331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864735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325983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23508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576212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968535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1594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329998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902441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831456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4758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9629437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Next </a:t>
            </a:r>
            <a:r>
              <a:rPr lang="de-DE" dirty="0" err="1"/>
              <a:t>Steps</a:t>
            </a:r>
            <a:endParaRPr lang="de-DE" dirty="0"/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994AE0DE-D779-9236-245B-C92C185281C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81706255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07271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398DD0-2837-19D0-3FC2-EC64AEE04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07671E-AEB6-0476-39CB-E486D8CD43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 algn="ctr">
              <a:buNone/>
            </a:pPr>
            <a:r>
              <a:rPr lang="de-DE" sz="2400" dirty="0"/>
              <a:t>Fragen?</a:t>
            </a:r>
          </a:p>
        </p:txBody>
      </p:sp>
    </p:spTree>
    <p:extLst>
      <p:ext uri="{BB962C8B-B14F-4D97-AF65-F5344CB8AC3E}">
        <p14:creationId xmlns:p14="http://schemas.microsoft.com/office/powerpoint/2010/main" val="123017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42142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Überblick</a:t>
            </a:r>
          </a:p>
        </p:txBody>
      </p:sp>
      <p:pic>
        <p:nvPicPr>
          <p:cNvPr id="56324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78677" y="1488735"/>
            <a:ext cx="3337006" cy="4416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393414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9E85D00F-AA0B-C2EF-75C1-6EB48B4FB3E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31135951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ransfermarkt.d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26663341"/>
              </p:ext>
            </p:extLst>
          </p:nvPr>
        </p:nvGraphicFramePr>
        <p:xfrm>
          <a:off x="573088" y="1430011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transfermarkt.de/bundesliga/spieltag/wettbewerb/L1/spieltag/34/saison_id/2022</a:t>
            </a:r>
            <a:r>
              <a:rPr lang="de-DE" sz="1000" dirty="0">
                <a:solidFill>
                  <a:schemeClr val="tx1"/>
                </a:solidFill>
              </a:rPr>
              <a:t>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</a:t>
            </a:r>
            <a:r>
              <a:rPr lang="de-DE" sz="1600" b="1" dirty="0">
                <a:solidFill>
                  <a:schemeClr val="tx1"/>
                </a:solidFill>
              </a:rPr>
              <a:t>Bundesliga-Spieltag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Grundsätzlich für alle auf Transfermarkt verfügbaren Ligen anwendbar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FFF981D-7BEC-5BA0-617E-78269048FBD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71919" y="4095848"/>
            <a:ext cx="6664960" cy="155023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28801984"/>
              </p:ext>
            </p:extLst>
          </p:nvPr>
        </p:nvGraphicFramePr>
        <p:xfrm>
          <a:off x="573088" y="1465567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https://www.transfermarkt.de/bundesliga/startseite/wettbewerb/L1/plus/?saison_id=2022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</a:t>
            </a:r>
            <a:r>
              <a:rPr lang="de-DE" sz="1600" b="1" dirty="0">
                <a:solidFill>
                  <a:schemeClr val="tx1"/>
                </a:solidFill>
              </a:rPr>
              <a:t>Bundesliga-Verein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Saison ab 1965 erstmalig mit 18 Vereinen statt 16 Vereinen, 1991 mit 20 Vereine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Marktwerte erst ab 2004 verfügbar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F15C77D-CDC2-587A-D8B5-0CBAA59635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31684" y="4018697"/>
            <a:ext cx="5345430" cy="1945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51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73249809"/>
              </p:ext>
            </p:extLst>
          </p:nvPr>
        </p:nvGraphicFramePr>
        <p:xfrm>
          <a:off x="573088" y="1536700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800" dirty="0">
                <a:solidFill>
                  <a:schemeClr val="tx1"/>
                </a:solidFill>
              </a:rPr>
              <a:t>https://www.transfermarkt.de/bundesliga/transfers/wettbewerb/L1/plus/?saison_id={2022}&amp;s_w=&amp;leihe=1&amp;intern=0&amp;intern=1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r </a:t>
            </a:r>
            <a:r>
              <a:rPr lang="de-DE" sz="1600" b="1" dirty="0">
                <a:solidFill>
                  <a:schemeClr val="tx1"/>
                </a:solidFill>
              </a:rPr>
              <a:t>Bundesliga-Transferübersicht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Marktwerte erst ab 2004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8010221-4AA1-D7B6-CEC4-1BA07ED4D5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6359" y="3999751"/>
            <a:ext cx="6736080" cy="1881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225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Elo-Zahl misst die Mannschaftsstärke basierend auf vergangenen Ergebnissen</a:t>
                </a:r>
              </a:p>
              <a:p>
                <a:r>
                  <a:rPr lang="de-DE" dirty="0"/>
                  <a:t>Basierend der </a:t>
                </a:r>
                <a:r>
                  <a:rPr lang="de-DE" dirty="0" err="1"/>
                  <a:t>Elo</a:t>
                </a:r>
                <a:r>
                  <a:rPr lang="de-DE" dirty="0"/>
                  <a:t>-Zahl von 2 Mannschaften kann ein Erwartungswert für ein bevorstehendes Spiel berechnet werden</a:t>
                </a:r>
              </a:p>
              <a:p>
                <a:r>
                  <a:rPr lang="de-DE" dirty="0"/>
                  <a:t>Alle historischen </a:t>
                </a:r>
                <a:r>
                  <a:rPr lang="de-DE" dirty="0" err="1"/>
                  <a:t>Elo</a:t>
                </a:r>
                <a:r>
                  <a:rPr lang="de-DE" dirty="0"/>
                  <a:t>-Werte der Mannschaften liegen vor</a:t>
                </a:r>
              </a:p>
              <a:p>
                <a:endParaRPr lang="de-DE" dirty="0"/>
              </a:p>
              <a:p>
                <a:r>
                  <a:rPr lang="de-DE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= Erwartungswert 	</a:t>
                </a:r>
                <a:endParaRPr lang="de-DE" b="0" i="1" dirty="0">
                  <a:latin typeface="Cambria Math" panose="02040503050406030204" pitchFamily="18" charset="0"/>
                </a:endParaRPr>
              </a:p>
              <a:p>
                <a:pPr marL="2151063" lvl="5" indent="0">
                  <a:buNone/>
                </a:pPr>
                <a:r>
                  <a:rPr lang="de-DE" b="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10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𝑑𝑟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/400</m:t>
                            </m:r>
                          </m:sup>
                        </m:s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den>
                    </m:f>
                  </m:oMath>
                </a14:m>
                <a:endParaRPr lang="de-DE" dirty="0"/>
              </a:p>
              <a:p>
                <a:pPr marL="2151063" lvl="5" indent="0">
                  <a:buNone/>
                </a:pPr>
                <a:endParaRPr lang="de-DE" dirty="0"/>
              </a:p>
              <a:p>
                <a:r>
                  <a:rPr lang="de-DE" dirty="0"/>
                  <a:t>0 → sicher erwartete Niederlage, 1  sicher erwarteten Sieg</a:t>
                </a:r>
              </a:p>
              <a:p>
                <a:r>
                  <a:rPr lang="de-DE" dirty="0" err="1"/>
                  <a:t>dr</a:t>
                </a:r>
                <a:r>
                  <a:rPr lang="de-DE" dirty="0"/>
                  <a:t> = Der Punkteabstand (positiv oder negativ) in der Wertung des gegnerischen Teams gegenüber dem zu bewertenden Team. Die Mannschaft mit Heimvorteil wird mit 100 Punkten besser bewertet.</a:t>
                </a:r>
              </a:p>
            </p:txBody>
          </p:sp>
        </mc:Choice>
        <mc:Fallback xmlns=""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0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nchmark mit </a:t>
            </a:r>
            <a:r>
              <a:rPr lang="de-DE" dirty="0" err="1"/>
              <a:t>Elo</a:t>
            </a:r>
            <a:r>
              <a:rPr lang="de-DE" dirty="0"/>
              <a:t> Rating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28F07C-0650-075C-382A-A1EEE94561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3F0341A5-A330-0F87-293B-DE10A62776EE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Ist das Ergebnis aus unserem Modell signifikant besser als zufälliges Raten für die Vorhersage von Spielergebnissen (Heimsieg, Heimniederlage, Unentschieden)</a:t>
                </a:r>
              </a:p>
              <a:p>
                <a:r>
                  <a:rPr lang="de-DE" dirty="0"/>
                  <a:t>Was bedeutet „raten“? Wie hoch ist die Apriori Wahrscheinlichkeit?</a:t>
                </a:r>
              </a:p>
              <a:p>
                <a:pPr lvl="1"/>
                <a:r>
                  <a:rPr lang="de-DE" dirty="0"/>
                  <a:t>Erste Annahme: Gleichverteilung bei reinem Zufalls: 1/3 für jeden Spielausgang</a:t>
                </a:r>
              </a:p>
              <a:p>
                <a:r>
                  <a:rPr lang="de-DE" dirty="0"/>
                  <a:t>Mit Hilfe statistischer Tests messen wir, ob unsere Prognoseergebnisse signifikant vom Zufälligen Raten abweicht</a:t>
                </a:r>
              </a:p>
              <a:p>
                <a:r>
                  <a:rPr lang="de-DE" b="1" dirty="0" err="1"/>
                  <a:t>McNemar</a:t>
                </a:r>
                <a:r>
                  <a:rPr lang="de-DE" b="1" dirty="0"/>
                  <a:t> Test:</a:t>
                </a:r>
              </a:p>
              <a:p>
                <a:pPr lvl="1"/>
                <a:r>
                  <a:rPr lang="de-DE" dirty="0"/>
                  <a:t>Verfahren um Unterschiede zwischen zwei verbundenen Stichproben zu untersuchen. Test ist für binären Output geeignet (richtige Vorhersage vs. falsche Vorhersage)</a:t>
                </a:r>
              </a:p>
              <a:p>
                <a:pPr lvl="2"/>
                <a:r>
                  <a:rPr lang="de-DE" dirty="0"/>
                  <a:t>Für unabhängige Stichproben: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dirty="0"/>
                  <a:t>-Test</a:t>
                </a:r>
              </a:p>
              <a:p>
                <a:pPr lvl="1"/>
                <a:r>
                  <a:rPr lang="de-DE" dirty="0"/>
                  <a:t>Nullhypothese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de-DE" dirty="0"/>
                  <a:t>: Kein Unterschied zwischen Stichprobe1 und Stichprobe2</a:t>
                </a:r>
              </a:p>
              <a:p>
                <a:pPr lvl="1"/>
                <a:r>
                  <a:rPr lang="de-DE" dirty="0"/>
                  <a:t>Signifikanzniveau: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=0.05</m:t>
                    </m:r>
                  </m:oMath>
                </a14:m>
                <a:endParaRPr lang="de-DE" dirty="0"/>
              </a:p>
              <a:p>
                <a:pPr lvl="1"/>
                <a:endParaRPr lang="de-DE" dirty="0"/>
              </a:p>
            </p:txBody>
          </p:sp>
        </mc:Choice>
        <mc:Fallback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3F0341A5-A330-0F87-293B-DE10A62776E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2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BD51801-2E25-7842-3879-3F3D1DB0AA7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D8EF560-B43C-E3DA-96BF-89ECADFCAC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0394750"/>
      </p:ext>
    </p:extLst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738</Words>
  <Application>Microsoft Office PowerPoint</Application>
  <PresentationFormat>Bildschirmpräsentation (4:3)</PresentationFormat>
  <Paragraphs>212</Paragraphs>
  <Slides>12</Slides>
  <Notes>0</Notes>
  <HiddenSlides>0</HiddenSlides>
  <MMClips>0</MMClips>
  <ScaleCrop>false</ScaleCrop>
  <HeadingPairs>
    <vt:vector size="10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  <vt:variant>
        <vt:lpstr>Zielgruppenorientierte Präsentationen</vt:lpstr>
      </vt:variant>
      <vt:variant>
        <vt:i4>1</vt:i4>
      </vt:variant>
    </vt:vector>
  </HeadingPairs>
  <TitlesOfParts>
    <vt:vector size="21" baseType="lpstr">
      <vt:lpstr>Arial</vt:lpstr>
      <vt:lpstr>Calibri</vt:lpstr>
      <vt:lpstr>Cambria Math</vt:lpstr>
      <vt:lpstr>Syntax</vt:lpstr>
      <vt:lpstr>Times</vt:lpstr>
      <vt:lpstr>Wingdings</vt:lpstr>
      <vt:lpstr>Leere Präsentation</vt:lpstr>
      <vt:lpstr>think-cell Folie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Modellsignifikanz</vt:lpstr>
      <vt:lpstr>Modellsignifikanz</vt:lpstr>
      <vt:lpstr>Web Mining</vt:lpstr>
      <vt:lpstr>Web Mining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Kevin Diec, Vodafone</cp:lastModifiedBy>
  <cp:revision>617</cp:revision>
  <cp:lastPrinted>2010-04-29T14:30:22Z</cp:lastPrinted>
  <dcterms:created xsi:type="dcterms:W3CDTF">2010-04-29T12:39:23Z</dcterms:created>
  <dcterms:modified xsi:type="dcterms:W3CDTF">2023-07-23T12:04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359f705-2ba0-454b-9cfc-6ce5bcaac040_Enabled">
    <vt:lpwstr>true</vt:lpwstr>
  </property>
  <property fmtid="{D5CDD505-2E9C-101B-9397-08002B2CF9AE}" pid="3" name="MSIP_Label_0359f705-2ba0-454b-9cfc-6ce5bcaac040_SetDate">
    <vt:lpwstr>2023-07-23T12:04:00Z</vt:lpwstr>
  </property>
  <property fmtid="{D5CDD505-2E9C-101B-9397-08002B2CF9AE}" pid="4" name="MSIP_Label_0359f705-2ba0-454b-9cfc-6ce5bcaac040_Method">
    <vt:lpwstr>Standard</vt:lpwstr>
  </property>
  <property fmtid="{D5CDD505-2E9C-101B-9397-08002B2CF9AE}" pid="5" name="MSIP_Label_0359f705-2ba0-454b-9cfc-6ce5bcaac040_Name">
    <vt:lpwstr>0359f705-2ba0-454b-9cfc-6ce5bcaac040</vt:lpwstr>
  </property>
  <property fmtid="{D5CDD505-2E9C-101B-9397-08002B2CF9AE}" pid="6" name="MSIP_Label_0359f705-2ba0-454b-9cfc-6ce5bcaac040_SiteId">
    <vt:lpwstr>68283f3b-8487-4c86-adb3-a5228f18b893</vt:lpwstr>
  </property>
  <property fmtid="{D5CDD505-2E9C-101B-9397-08002B2CF9AE}" pid="7" name="MSIP_Label_0359f705-2ba0-454b-9cfc-6ce5bcaac040_ActionId">
    <vt:lpwstr>7787f58d-8281-464d-999d-2df8055d5409</vt:lpwstr>
  </property>
  <property fmtid="{D5CDD505-2E9C-101B-9397-08002B2CF9AE}" pid="8" name="MSIP_Label_0359f705-2ba0-454b-9cfc-6ce5bcaac040_ContentBits">
    <vt:lpwstr>2</vt:lpwstr>
  </property>
</Properties>
</file>